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32" r:id="rId4"/>
  </p:sldMasterIdLst>
  <p:notesMasterIdLst>
    <p:notesMasterId r:id="rId26"/>
  </p:notesMasterIdLst>
  <p:handoutMasterIdLst>
    <p:handoutMasterId r:id="rId27"/>
  </p:handoutMasterIdLst>
  <p:sldIdLst>
    <p:sldId id="612" r:id="rId5"/>
    <p:sldId id="641" r:id="rId6"/>
    <p:sldId id="630" r:id="rId7"/>
    <p:sldId id="617" r:id="rId8"/>
    <p:sldId id="628" r:id="rId9"/>
    <p:sldId id="642" r:id="rId10"/>
    <p:sldId id="643" r:id="rId11"/>
    <p:sldId id="644" r:id="rId12"/>
    <p:sldId id="646" r:id="rId13"/>
    <p:sldId id="648" r:id="rId14"/>
    <p:sldId id="649" r:id="rId15"/>
    <p:sldId id="650" r:id="rId16"/>
    <p:sldId id="651" r:id="rId17"/>
    <p:sldId id="652" r:id="rId18"/>
    <p:sldId id="653" r:id="rId19"/>
    <p:sldId id="654" r:id="rId20"/>
    <p:sldId id="655" r:id="rId21"/>
    <p:sldId id="656" r:id="rId22"/>
    <p:sldId id="657" r:id="rId23"/>
    <p:sldId id="658" r:id="rId24"/>
    <p:sldId id="625" r:id="rId25"/>
  </p:sldIdLst>
  <p:sldSz cx="12192000" cy="6858000"/>
  <p:notesSz cx="6797675" cy="9928225"/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slides" id="{32DABB69-EF28-498F-B23C-524E5061A301}">
          <p14:sldIdLst>
            <p14:sldId id="612"/>
            <p14:sldId id="641"/>
          </p14:sldIdLst>
        </p14:section>
        <p14:section name="Core Values" id="{7CA2042F-E4F3-4015-9FA0-7D7677DACE95}">
          <p14:sldIdLst>
            <p14:sldId id="630"/>
          </p14:sldIdLst>
        </p14:section>
        <p14:section name="Agenda" id="{A84671E2-237F-474D-A35F-5A8F3B220B0F}">
          <p14:sldIdLst>
            <p14:sldId id="617"/>
          </p14:sldIdLst>
        </p14:section>
        <p14:section name="Slides" id="{365F1DCD-6217-4B34-AC32-AD44074031FC}">
          <p14:sldIdLst>
            <p14:sldId id="628"/>
            <p14:sldId id="642"/>
            <p14:sldId id="643"/>
            <p14:sldId id="644"/>
            <p14:sldId id="646"/>
            <p14:sldId id="648"/>
            <p14:sldId id="649"/>
            <p14:sldId id="650"/>
            <p14:sldId id="651"/>
            <p14:sldId id="652"/>
            <p14:sldId id="653"/>
            <p14:sldId id="654"/>
            <p14:sldId id="655"/>
            <p14:sldId id="656"/>
            <p14:sldId id="657"/>
            <p14:sldId id="658"/>
            <p14:sldId id="625"/>
          </p14:sldIdLst>
        </p14:section>
        <p14:section name="Icons_Essentials" id="{5D7F2A0E-0900-4C4C-9812-B0F716CA426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600"/>
    <a:srgbClr val="467303"/>
    <a:srgbClr val="DF526C"/>
    <a:srgbClr val="D93452"/>
    <a:srgbClr val="D21034"/>
    <a:srgbClr val="007E3A"/>
    <a:srgbClr val="4CAA5B"/>
    <a:srgbClr val="003C79"/>
    <a:srgbClr val="EF4B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4795" autoAdjust="0"/>
  </p:normalViewPr>
  <p:slideViewPr>
    <p:cSldViewPr snapToGrid="0">
      <p:cViewPr varScale="1">
        <p:scale>
          <a:sx n="115" d="100"/>
          <a:sy n="115" d="100"/>
        </p:scale>
        <p:origin x="618" y="108"/>
      </p:cViewPr>
      <p:guideLst/>
    </p:cSldViewPr>
  </p:slideViewPr>
  <p:outlineViewPr>
    <p:cViewPr>
      <p:scale>
        <a:sx n="33" d="100"/>
        <a:sy n="33" d="100"/>
      </p:scale>
      <p:origin x="0" y="-24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AA5D587-B1B5-43C0-8079-650E328F7E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97CD8E-38A3-49C0-B86C-561A39A9F5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89EE4F-FAA8-4CD9-9F54-A488197C508B}" type="datetimeFigureOut">
              <a:rPr lang="en-US" smtClean="0"/>
              <a:t>7/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346704-A275-490B-85C4-F3D7B99E7A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FF104B-7BBD-4FF8-A862-795105AC8EB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C4F81-824C-4876-ACE6-35856FACA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95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136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136"/>
          </a:xfrm>
          <a:prstGeom prst="rect">
            <a:avLst/>
          </a:prstGeom>
        </p:spPr>
        <p:txBody>
          <a:bodyPr vert="horz" lIns="91449" tIns="45725" rIns="91449" bIns="45725" rtlCol="0"/>
          <a:lstStyle>
            <a:lvl1pPr algn="r">
              <a:defRPr sz="1200"/>
            </a:lvl1pPr>
          </a:lstStyle>
          <a:p>
            <a:fld id="{FECE24BB-7B0B-42E3-B334-FE179AB00FB3}" type="datetimeFigureOut">
              <a:rPr lang="de-CH" smtClean="0"/>
              <a:t>07.07.2020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9" tIns="45725" rIns="91449" bIns="45725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9" tIns="45725" rIns="91449" bIns="457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5"/>
            <a:ext cx="2945659" cy="498135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5"/>
            <a:ext cx="2945659" cy="498135"/>
          </a:xfrm>
          <a:prstGeom prst="rect">
            <a:avLst/>
          </a:prstGeom>
        </p:spPr>
        <p:txBody>
          <a:bodyPr vert="horz" lIns="91449" tIns="45725" rIns="91449" bIns="45725" rtlCol="0" anchor="b"/>
          <a:lstStyle>
            <a:lvl1pPr algn="r">
              <a:defRPr sz="1200"/>
            </a:lvl1pPr>
          </a:lstStyle>
          <a:p>
            <a:fld id="{07387E37-81CD-4BE5-BD8A-6F4FD822AB4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4758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fade white">
            <a:extLst>
              <a:ext uri="{FF2B5EF4-FFF2-40B4-BE49-F238E27FC236}">
                <a16:creationId xmlns:a16="http://schemas.microsoft.com/office/drawing/2014/main" id="{94F20D72-7CFC-4970-B949-AD862AF527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2708275"/>
            <a:ext cx="10080626" cy="2160588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ctr">
              <a:defRPr sz="7200" spc="0"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1055687" y="2122098"/>
            <a:ext cx="10080626" cy="45321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logo dark">
            <a:extLst>
              <a:ext uri="{FF2B5EF4-FFF2-40B4-BE49-F238E27FC236}">
                <a16:creationId xmlns:a16="http://schemas.microsoft.com/office/drawing/2014/main" id="{091AE020-6FFB-41FD-A995-C84CD28847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76725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665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3_ligh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fade white">
            <a:extLst>
              <a:ext uri="{FF2B5EF4-FFF2-40B4-BE49-F238E27FC236}">
                <a16:creationId xmlns:a16="http://schemas.microsoft.com/office/drawing/2014/main" id="{8028DAC7-9315-44AC-80B9-5085732D8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logo dark">
            <a:extLst>
              <a:ext uri="{FF2B5EF4-FFF2-40B4-BE49-F238E27FC236}">
                <a16:creationId xmlns:a16="http://schemas.microsoft.com/office/drawing/2014/main" id="{D43BD5C5-F275-45D4-A158-37E7D91741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550" y="1268413"/>
            <a:ext cx="7200900" cy="1446212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ctr">
              <a:defRPr sz="44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595B593-3374-4934-979B-FE0F227AD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3795" y="2714625"/>
            <a:ext cx="7202656" cy="342899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350210" indent="0" algn="ctr">
              <a:buNone/>
              <a:defRPr sz="1200">
                <a:solidFill>
                  <a:schemeClr val="tx1"/>
                </a:solidFill>
              </a:defRPr>
            </a:lvl2pPr>
            <a:lvl3pPr marL="615193" indent="0" algn="ctr">
              <a:buNone/>
              <a:defRPr sz="1100">
                <a:solidFill>
                  <a:schemeClr val="tx1"/>
                </a:solidFill>
              </a:defRPr>
            </a:lvl3pPr>
            <a:lvl4pPr marL="880176" indent="0" algn="ctr">
              <a:buNone/>
              <a:defRPr sz="1050">
                <a:solidFill>
                  <a:schemeClr val="tx1"/>
                </a:solidFill>
              </a:defRPr>
            </a:lvl4pPr>
            <a:lvl5pPr marL="1134309" indent="0" algn="ctr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A54BD83B-60CA-487B-AAD8-7884AE5B43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4FEDE84-26E7-45BE-A6DD-6637666B01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786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3_dark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dark">
            <a:extLst>
              <a:ext uri="{FF2B5EF4-FFF2-40B4-BE49-F238E27FC236}">
                <a16:creationId xmlns:a16="http://schemas.microsoft.com/office/drawing/2014/main" id="{D7866EE3-BBA5-4EF4-8BB2-45534AD2BC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white">
            <a:extLst>
              <a:ext uri="{FF2B5EF4-FFF2-40B4-BE49-F238E27FC236}">
                <a16:creationId xmlns:a16="http://schemas.microsoft.com/office/drawing/2014/main" id="{84493214-76B3-4533-A8F3-A7B22EF45B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550" y="1268413"/>
            <a:ext cx="7200900" cy="1446212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ctr">
              <a:defRPr sz="44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595B593-3374-4934-979B-FE0F227AD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3795" y="2714625"/>
            <a:ext cx="7202656" cy="342899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350210" indent="0" algn="ctr">
              <a:buNone/>
              <a:defRPr sz="1200">
                <a:solidFill>
                  <a:schemeClr val="bg1"/>
                </a:solidFill>
              </a:defRPr>
            </a:lvl2pPr>
            <a:lvl3pPr marL="615193" indent="0" algn="ctr">
              <a:buNone/>
              <a:defRPr sz="1100">
                <a:solidFill>
                  <a:schemeClr val="bg1"/>
                </a:solidFill>
              </a:defRPr>
            </a:lvl3pPr>
            <a:lvl4pPr marL="880176" indent="0" algn="ctr">
              <a:buNone/>
              <a:defRPr sz="1050">
                <a:solidFill>
                  <a:schemeClr val="bg1"/>
                </a:solidFill>
              </a:defRPr>
            </a:lvl4pPr>
            <a:lvl5pPr marL="1134309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7D80BB9-0E1C-4ECD-9868-A4BAFC213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82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pictur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ade white">
            <a:extLst>
              <a:ext uri="{FF2B5EF4-FFF2-40B4-BE49-F238E27FC236}">
                <a16:creationId xmlns:a16="http://schemas.microsoft.com/office/drawing/2014/main" id="{0E56BF90-6FE3-4172-A40B-BCE539174F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dark">
            <a:extLst>
              <a:ext uri="{FF2B5EF4-FFF2-40B4-BE49-F238E27FC236}">
                <a16:creationId xmlns:a16="http://schemas.microsoft.com/office/drawing/2014/main" id="{2C902F33-0C6F-4FF8-916C-A01C62735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FBFA7E3-0634-4BB1-99BC-1593AA8BF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2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picture_dark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ade dark">
            <a:extLst>
              <a:ext uri="{FF2B5EF4-FFF2-40B4-BE49-F238E27FC236}">
                <a16:creationId xmlns:a16="http://schemas.microsoft.com/office/drawing/2014/main" id="{BD70E11C-8E1C-41D6-975E-582332D266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white">
            <a:extLst>
              <a:ext uri="{FF2B5EF4-FFF2-40B4-BE49-F238E27FC236}">
                <a16:creationId xmlns:a16="http://schemas.microsoft.com/office/drawing/2014/main" id="{4EFFFCFA-8D0E-4D28-A8D0-D61D9031FB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77D0960-1177-468B-B03D-FC7D44093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65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 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188913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872197"/>
            <a:ext cx="11522075" cy="5271428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7F13A1F-6815-48B7-AB5D-46C09C368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27576B-9CAA-4B52-8E44-550DE3C35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401CB54-8C2A-4107-994C-19F765020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77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04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w_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8" y="549275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268413"/>
            <a:ext cx="11522075" cy="4875211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80483DB-0E2D-46D9-8B67-0F79DE8443B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188913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64D2013-BDAE-4A83-B5F5-C52BC059B8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A1A0FAE-36CE-45BC-BAC4-DA4ABD3E70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D8ABF4-C356-4B19-A2D6-BDAF5EAADC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5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orient="horz" pos="799" userDrawn="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cente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679808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 algn="ctr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559965"/>
            <a:ext cx="11520321" cy="458365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350210" indent="0" algn="ctr">
              <a:buNone/>
              <a:defRPr sz="1200">
                <a:solidFill>
                  <a:schemeClr val="tx1"/>
                </a:solidFill>
              </a:defRPr>
            </a:lvl2pPr>
            <a:lvl3pPr marL="615193" indent="0" algn="ctr">
              <a:buNone/>
              <a:defRPr sz="1100">
                <a:solidFill>
                  <a:schemeClr val="tx1"/>
                </a:solidFill>
              </a:defRPr>
            </a:lvl3pPr>
            <a:lvl4pPr marL="880176" indent="0" algn="ctr">
              <a:buNone/>
              <a:defRPr sz="1050">
                <a:solidFill>
                  <a:schemeClr val="tx1"/>
                </a:solidFill>
              </a:defRPr>
            </a:lvl4pPr>
            <a:lvl5pPr marL="1134309" indent="0" algn="ctr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80483DB-0E2D-46D9-8B67-0F79DE8443B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349736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C6D08EA-5A78-4BDD-9B86-47EE6E8DF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75D2D7C-4E39-4E32-B95B-C927740F9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58BB25-DB66-4E7F-B995-6C114E0BC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8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9" userDrawn="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sma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CF91831-9CBF-46EF-AA02-7C15CF755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588" y="1"/>
            <a:ext cx="3935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1" y="188913"/>
            <a:ext cx="7920419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872197"/>
            <a:ext cx="7921626" cy="5271428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7F13A1F-6815-48B7-AB5D-46C09C368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5501137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BD60534-B3DA-4591-84C5-83C4AA75B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28B03C-14FB-476B-A5CB-51822E6FC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6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04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small_subtitle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CF91831-9CBF-46EF-AA02-7C15CF755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588" y="1"/>
            <a:ext cx="3935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7F13A1F-6815-48B7-AB5D-46C09C368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5501137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978AC272-7CD6-4476-B9EF-0143F73C4D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1" y="549275"/>
            <a:ext cx="7920419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C047854-2AE6-44B5-9AA1-CB91C73359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268413"/>
            <a:ext cx="7921626" cy="4875211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FE37CB6-1C1A-4A14-B26C-A1667347AB74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336712" y="188913"/>
            <a:ext cx="7920424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8ACEFC8-22CE-4A0A-9F92-8C2B9E6B6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C25E49D-5327-4FD5-AAA1-E7F4492574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336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orient="horz" pos="346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mediu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7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D679C6F-CC5A-4D0E-A85A-14099B62A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268413"/>
            <a:ext cx="5759451" cy="5040312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8FE1AA4-5E04-41B6-9D9A-BD835272E1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10650" y="6448552"/>
            <a:ext cx="2545489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8A1DFC7-3D22-4094-B462-4E451A0C7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1" y="188913"/>
            <a:ext cx="5757621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6551970-06D9-40F9-A45E-F3297FD43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6B40DE-634E-4C1B-945F-C76084E640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1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orient="horz" pos="1253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fade dark">
            <a:extLst>
              <a:ext uri="{FF2B5EF4-FFF2-40B4-BE49-F238E27FC236}">
                <a16:creationId xmlns:a16="http://schemas.microsoft.com/office/drawing/2014/main" id="{4680E751-08E2-429B-B23B-227E259EFE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2708275"/>
            <a:ext cx="10080626" cy="2160588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ctr">
              <a:defRPr sz="72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1055687" y="2122098"/>
            <a:ext cx="10080626" cy="45321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 b="0" spc="1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logo white">
            <a:extLst>
              <a:ext uri="{FF2B5EF4-FFF2-40B4-BE49-F238E27FC236}">
                <a16:creationId xmlns:a16="http://schemas.microsoft.com/office/drawing/2014/main" id="{CF35CD59-5844-4BA4-BE57-6871D62AB3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76725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585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medium_subtitle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7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F9A90365-0045-416F-956D-0775422C1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549276"/>
            <a:ext cx="5761037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ACE5DBAA-F6C6-43C5-9CE4-7441C84DECD6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336713" y="188913"/>
            <a:ext cx="5761040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D679C6F-CC5A-4D0E-A85A-14099B62A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989138"/>
            <a:ext cx="5761037" cy="4319586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F26B4FC7-261E-4864-9C9A-4B4841A7C8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10650" y="6448552"/>
            <a:ext cx="2545489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F9CF261-4C17-4E27-B375-47991DCAD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E3036AA-8FFF-4850-87CD-8206F5D110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346" userDrawn="1">
          <p15:clr>
            <a:srgbClr val="F26B43"/>
          </p15:clr>
        </p15:guide>
        <p15:guide id="3" orient="horz" pos="1253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picture_medium_right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7A8E8F-F4CE-4A86-852C-FFE798E46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3810" y="6410221"/>
            <a:ext cx="1439338" cy="267717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F4E167C-E81D-40DC-B45F-1A3235E86E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50959" y="6448552"/>
            <a:ext cx="3194500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99C9318-7190-4E19-82F0-B6D3421021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4152" y="1268413"/>
            <a:ext cx="5504473" cy="5040312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 spc="0" baseline="0">
                <a:solidFill>
                  <a:schemeClr val="tx1"/>
                </a:solidFill>
              </a:defRPr>
            </a:lvl1pPr>
            <a:lvl2pPr>
              <a:defRPr sz="1600" spc="0" baseline="0">
                <a:solidFill>
                  <a:schemeClr val="tx1"/>
                </a:solidFill>
              </a:defRPr>
            </a:lvl2pPr>
            <a:lvl3pPr>
              <a:defRPr sz="1400" spc="0" baseline="0">
                <a:solidFill>
                  <a:schemeClr val="tx1"/>
                </a:solidFill>
              </a:defRPr>
            </a:lvl3pPr>
            <a:lvl4pPr>
              <a:defRPr sz="1200" spc="0" baseline="0">
                <a:solidFill>
                  <a:schemeClr val="tx1"/>
                </a:solidFill>
              </a:defRPr>
            </a:lvl4pPr>
            <a:lvl5pPr>
              <a:defRPr sz="1100" spc="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33973FD-048D-4020-BA0E-9E431DAF6B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5901" y="188913"/>
            <a:ext cx="5502724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B4EAE5C-FAEC-4279-8C36-0651A87F0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39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/Bullets_picture_medium_subtitle_right  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FDF02F-419F-4358-86F5-C8531CAE93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" y="1"/>
            <a:ext cx="609441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5B00B2C-47AF-4B96-AFE8-FD98847D11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7650" y="549276"/>
            <a:ext cx="5502724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68A2701-3182-49B2-8C63-6DEB7DF4E42B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357650" y="188913"/>
            <a:ext cx="5502727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C8BD8F7-7655-41AB-923C-3D20C26ABA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5901" y="1989137"/>
            <a:ext cx="5502724" cy="4319587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F4E167C-E81D-40DC-B45F-1A3235E86E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50959" y="6448552"/>
            <a:ext cx="3194500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57832A4-6BBB-4135-8A4A-1E734B833D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E800F7-B86B-47FA-84B4-EA0988AA2D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3810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5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6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/Bullets_alterning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9B628240-8379-40FA-AC5E-41411DC993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739"/>
            <a:ext cx="609600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CE899B4-8B5F-4555-A379-088B327A60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3429001"/>
            <a:ext cx="609600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EB06FD9-8549-4D9C-A1E6-B29E872C7A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7650" y="549276"/>
            <a:ext cx="5502724" cy="1031803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52CBD56-7CA4-4596-BACA-204334312AFB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6357650" y="188913"/>
            <a:ext cx="5502727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A22E9-ABAD-4561-9D9F-3D839720F0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55901" y="1676473"/>
            <a:ext cx="5502724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350210" indent="0">
              <a:buNone/>
              <a:defRPr sz="1100">
                <a:solidFill>
                  <a:schemeClr val="tx1"/>
                </a:solidFill>
              </a:defRPr>
            </a:lvl2pPr>
            <a:lvl3pPr marL="615193" indent="0">
              <a:buNone/>
              <a:defRPr sz="1050">
                <a:solidFill>
                  <a:schemeClr val="tx1"/>
                </a:solidFill>
              </a:defRPr>
            </a:lvl3pPr>
            <a:lvl4pPr marL="880176" indent="0">
              <a:buNone/>
              <a:defRPr sz="1000">
                <a:solidFill>
                  <a:schemeClr val="tx1"/>
                </a:solidFill>
              </a:defRPr>
            </a:lvl4pPr>
            <a:lvl5pPr marL="1134309" indent="0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88586D7-FA72-4E38-A2A7-A58C9253AFE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1542" y="5138761"/>
            <a:ext cx="5502808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350210" indent="0">
              <a:buNone/>
              <a:defRPr sz="1100">
                <a:solidFill>
                  <a:schemeClr val="tx1"/>
                </a:solidFill>
              </a:defRPr>
            </a:lvl2pPr>
            <a:lvl3pPr marL="615193" indent="0">
              <a:buNone/>
              <a:defRPr sz="1050">
                <a:solidFill>
                  <a:schemeClr val="tx1"/>
                </a:solidFill>
              </a:defRPr>
            </a:lvl3pPr>
            <a:lvl4pPr marL="880176" indent="0">
              <a:buNone/>
              <a:defRPr sz="1000">
                <a:solidFill>
                  <a:schemeClr val="tx1"/>
                </a:solidFill>
              </a:defRPr>
            </a:lvl4pPr>
            <a:lvl5pPr marL="1134309" indent="0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98A5F9E-2870-4D8B-8603-43C4029754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10650" y="6448552"/>
            <a:ext cx="2545489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3AFE361-4DCF-48D9-9D43-225BE79BEF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2A9FC5-7EAF-4281-8CD6-9A193A9604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4011564"/>
            <a:ext cx="5499386" cy="1031803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F8D465D-4083-4793-ABF3-54039A0122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4" y="3651201"/>
            <a:ext cx="5499386" cy="330072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 marL="0" indent="0" algn="l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64D638-C286-48BD-88F6-26D73F4C40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19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alterning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A212DE9-3C99-492B-88A0-868A60F5F4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0000140-4EAE-484F-91DD-491D97938D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530" y="342900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ADFD934-8135-420B-892B-093F516C2E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9060" y="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0E9BDB0-F08B-4E29-BDA6-123250C727A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64" y="5025259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13B883F-B3AB-4E40-B5F3-3F92428F3F7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392236" y="5025259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EBA454F-5826-4DA9-A7D9-C6477113D9E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61087" y="1605356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75B0352C-143A-4A48-8A6A-8F61EEA349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5C4240F-4924-4950-8FA7-AB8B0A5DA8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759" y="3633093"/>
            <a:ext cx="3468075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7E3A67BE-DB65-42BD-B3C2-25B9FA607576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361087" y="200115"/>
            <a:ext cx="3468075" cy="38015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en-US" sz="1200" b="0" kern="120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85750" lvl="0" indent="-285750" algn="ctr" defTabSz="892535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4611F75-D1B0-49AA-BDCA-46B0F3A058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3" y="4004296"/>
            <a:ext cx="3464801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595DADA8-A208-45CA-BB62-4C38976403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3033" y="3633093"/>
            <a:ext cx="3468075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2CDFCC7-A777-4C2C-9AD1-7E1FB0D66B1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92237" y="4004296"/>
            <a:ext cx="3464801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0C7CFCE0-358C-48FC-9EF8-5CD643DE9F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1086" y="597933"/>
            <a:ext cx="3468076" cy="1007424"/>
          </a:xfrm>
          <a:prstGeom prst="rect">
            <a:avLst/>
          </a:prstGeom>
        </p:spPr>
        <p:txBody>
          <a:bodyPr anchor="ctr"/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6CB9214-2684-4031-A4F9-310E6AB1C5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2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alterning_lo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1EFC67E4-D2DB-4185-86F2-0BE924216CB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6116" y="3429000"/>
            <a:ext cx="8125882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C3305911-782B-46AF-9EB2-6AA44E9B66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4062940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B700D63-7095-4AC1-8913-F606A27003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4591" y="549276"/>
            <a:ext cx="7534196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 algn="l">
              <a:defRPr spc="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570335A-2210-4076-A15D-E76114FC3D95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324592" y="188913"/>
            <a:ext cx="7534200" cy="330072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54373F3-F697-4BB1-A0B1-A30460D2BB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2842" y="1268413"/>
            <a:ext cx="7534196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350210" indent="0">
              <a:buNone/>
              <a:defRPr sz="1100">
                <a:solidFill>
                  <a:schemeClr val="tx1"/>
                </a:solidFill>
              </a:defRPr>
            </a:lvl2pPr>
            <a:lvl3pPr marL="615193" indent="0">
              <a:buNone/>
              <a:defRPr sz="1050">
                <a:solidFill>
                  <a:schemeClr val="tx1"/>
                </a:solidFill>
              </a:defRPr>
            </a:lvl3pPr>
            <a:lvl4pPr marL="880176" indent="0">
              <a:buNone/>
              <a:defRPr sz="1000">
                <a:solidFill>
                  <a:schemeClr val="tx1"/>
                </a:solidFill>
              </a:defRPr>
            </a:lvl4pPr>
            <a:lvl5pPr marL="1134309" indent="0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18CA266-E63E-4EAE-99C1-83A5FD7EF5F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4964" y="5025259"/>
            <a:ext cx="3468075" cy="103180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50210" indent="0" algn="ctr">
              <a:buNone/>
              <a:defRPr sz="1100">
                <a:solidFill>
                  <a:schemeClr val="tx1"/>
                </a:solidFill>
              </a:defRPr>
            </a:lvl2pPr>
            <a:lvl3pPr marL="615193" indent="0" algn="ctr">
              <a:buNone/>
              <a:defRPr sz="1050">
                <a:solidFill>
                  <a:schemeClr val="tx1"/>
                </a:solidFill>
              </a:defRPr>
            </a:lvl3pPr>
            <a:lvl4pPr marL="880176" indent="0" algn="ctr">
              <a:buNone/>
              <a:defRPr sz="1000">
                <a:solidFill>
                  <a:schemeClr val="tx1"/>
                </a:solidFill>
              </a:defRPr>
            </a:lvl4pPr>
            <a:lvl5pPr marL="1134309" indent="0" algn="ctr"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7C156BC-C37E-45C2-95A7-3F6CFC8A3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1463C8E2-B06E-49B3-AEA6-C9DC4DE327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759" y="3633093"/>
            <a:ext cx="3468075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E763918-DC89-407A-AD6F-4FDA8E870B0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34963" y="4004296"/>
            <a:ext cx="3464801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B260B46-847B-4BA1-ADB1-C70457BEF6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0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_intro_lef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A1F4386-0BED-442B-B326-397DAF60ED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7A8E8F-F4CE-4A86-852C-FFE798E46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95998" y="6410221"/>
            <a:ext cx="1439338" cy="267717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6EAB65D6-F86B-4CF3-849C-F5AA349B9C9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11667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FBFBF33-2E07-4216-82EC-73F148AFD1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1334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75F0684-A63D-4A56-A4E5-44688CC024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1001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1B8BF4A-7352-4C25-A229-359DA06F6E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05667" y="1281683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C4AA900-B385-4777-B0A9-A08A2ABB8D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B816F50-31AB-424F-8372-4EE72D9C5C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83267" y="2994659"/>
            <a:ext cx="3464801" cy="561341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22A9946-4202-4404-80EF-C9BCE395919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583267" y="3575685"/>
            <a:ext cx="3464801" cy="323216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649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ITY/TIT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49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A1E7F5C-BD69-4C46-B947-25793335352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583267" y="4149725"/>
            <a:ext cx="3464801" cy="1439863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5395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_intro_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A1F4386-0BED-442B-B326-397DAF60ED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6EAB65D6-F86B-4CF3-849C-F5AA349B9C9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11667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FBFBF33-2E07-4216-82EC-73F148AFD1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60667" y="0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75F0684-A63D-4A56-A4E5-44688CC024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80334" y="1"/>
            <a:ext cx="178033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61B8BF4A-7352-4C25-A229-359DA06F6E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66333" y="1281683"/>
            <a:ext cx="1620000" cy="16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B0D288F-E866-49F1-A006-831AF1CFB9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56663" y="6410221"/>
            <a:ext cx="1439338" cy="26771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F7E7B64-9687-4926-87A2-1F1BBAE51F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2DF5F02-EBF7-4CC7-B9B3-E083384C87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43933" y="2994659"/>
            <a:ext cx="3464801" cy="561341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6F2176B-F5DB-4464-92A1-417E71F3C90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43933" y="3575685"/>
            <a:ext cx="3464801" cy="323216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649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ITY/TIT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49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81EEA59-EC35-4080-B605-B8B5C04EB9B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43931" y="4149725"/>
            <a:ext cx="3464801" cy="1439863"/>
          </a:xfrm>
          <a:prstGeom prst="rect">
            <a:avLst/>
          </a:prstGeom>
        </p:spPr>
        <p:txBody>
          <a:bodyPr lIns="72000" tIns="72000" rIns="72000" bIns="90000" anchor="ctr"/>
          <a:lstStyle>
            <a:lvl1pPr marL="0" marR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US" sz="3200" b="1" kern="1200" cap="none" spc="0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ctr" defTabSz="91436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yo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er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040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intro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6B90C67D-C254-437B-89EC-A9DBCC891723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881063" y="1714581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5499BEE8-75FA-46A5-A624-0DD93E20C961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81063" y="3114716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1D04271D-6BB9-4FA9-A3C3-2ECD4DA305D2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81063" y="4514850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16FE4D44-76B5-4E48-BD15-D3336E0400A2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687" y="1714581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1F38E89C-80E5-4964-8588-B372443F70F3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357687" y="3114716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D9930549-17D4-43D0-88E3-143DF897F92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357687" y="4514850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47569DF3-A410-40DD-9460-C04D54A5FC27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7834311" y="1714581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0868EF9E-88A3-4134-9BF3-F1ECB188369E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834311" y="3114716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F1FA6712-74DE-496C-8A58-B7E0D41B181D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7834311" y="4514850"/>
            <a:ext cx="900000" cy="90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6" name="Title Placeholder 1">
            <a:extLst>
              <a:ext uri="{FF2B5EF4-FFF2-40B4-BE49-F238E27FC236}">
                <a16:creationId xmlns:a16="http://schemas.microsoft.com/office/drawing/2014/main" id="{D091AEAE-A025-47B1-B53D-144841553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641288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 algn="ctr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B52520F1-69DF-4B07-BEF2-CEB8849E2CA9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311216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924641D6-6212-4F14-B15A-38C17799C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FE7CA10-274A-4731-B938-7109A9FE27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7BABD8CA-C547-4A6B-BB41-31F3C1E7A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41A063-DA9E-4A3F-85E8-C7A8B516F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75688" y="1882155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F6828088-9B0D-4058-A245-B41BD2CB46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75688" y="2212227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E707173-A0DB-479C-BB28-01BDEC48A0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75688" y="3279880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0A448DD1-4E7D-43F5-BFE3-8B7C24F2B8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75688" y="3609952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44A4B1F4-8C56-486C-86A1-824FFBC0F0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75688" y="4643654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3F1839D-681D-4784-9908-54D0F9141F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75688" y="4973726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E1F46CE4-288B-48BD-8ABA-A11A9809DB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52312" y="1882155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B420BF23-A5B6-4178-81B8-ED748A13C1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52312" y="2212227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C3D96B28-D090-4326-9A71-D772AA0602A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52312" y="3279880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6B5D6B59-505F-4D36-9FDE-E514238AC94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52312" y="3609952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E081D307-625A-42C2-93E8-5C579F28D13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52312" y="4643654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7F92D9D0-B23C-490B-9EBA-652859F7AE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52312" y="4973726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1D4812BC-A43C-46A2-A545-64683A56EC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28936" y="1882155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B811F3F6-71A7-4EF8-AB87-047E65D8BE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8936" y="2212227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556D81BD-E4C3-4858-865E-005F26A34E7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28936" y="3279880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3BBB8339-7B23-4616-B225-B996DD8D7C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28936" y="3609952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B15B2E43-B991-4EFF-B067-5F347758C50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728936" y="4643654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CFBA664D-73E2-4E32-94C1-87DBB853110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28936" y="4973726"/>
            <a:ext cx="2581999" cy="330072"/>
          </a:xfrm>
          <a:prstGeom prst="rect">
            <a:avLst/>
          </a:prstGeom>
        </p:spPr>
        <p:txBody>
          <a:bodyPr anchor="t"/>
          <a:lstStyle>
            <a:lvl1pPr marL="0" marR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TY/TITLE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65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ullets_centered_with_C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62BF22-AAAF-408C-A1DC-0A792DE7861A}"/>
              </a:ext>
            </a:extLst>
          </p:cNvPr>
          <p:cNvSpPr/>
          <p:nvPr userDrawn="1"/>
        </p:nvSpPr>
        <p:spPr bwMode="auto">
          <a:xfrm>
            <a:off x="0" y="4455887"/>
            <a:ext cx="12192000" cy="240211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651CF7B9-372B-4428-921C-975EA4C38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712" y="679808"/>
            <a:ext cx="11520320" cy="588605"/>
          </a:xfrm>
          <a:prstGeom prst="rect">
            <a:avLst/>
          </a:prstGeom>
        </p:spPr>
        <p:txBody>
          <a:bodyPr vert="horz" lIns="72000" tIns="72000" rIns="72000" bIns="72000" rtlCol="0" anchor="t">
            <a:spAutoFit/>
          </a:bodyPr>
          <a:lstStyle>
            <a:lvl1pPr algn="ctr"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79E477-E0F0-4EC3-AE96-80C0E073F4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2" y="1559965"/>
            <a:ext cx="11520321" cy="2715921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350210" indent="0" algn="ctr">
              <a:buNone/>
              <a:defRPr sz="1200">
                <a:solidFill>
                  <a:schemeClr val="tx1"/>
                </a:solidFill>
              </a:defRPr>
            </a:lvl2pPr>
            <a:lvl3pPr marL="615193" indent="0" algn="ctr">
              <a:buNone/>
              <a:defRPr sz="1100">
                <a:solidFill>
                  <a:schemeClr val="tx1"/>
                </a:solidFill>
              </a:defRPr>
            </a:lvl3pPr>
            <a:lvl4pPr marL="880176" indent="0" algn="ctr">
              <a:buNone/>
              <a:defRPr sz="1050">
                <a:solidFill>
                  <a:schemeClr val="tx1"/>
                </a:solidFill>
              </a:defRPr>
            </a:lvl4pPr>
            <a:lvl5pPr marL="1134309" indent="0" algn="ctr"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7A8E8F-F4CE-4A86-852C-FFE798E46A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512" y="6410291"/>
            <a:ext cx="1438351" cy="267577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380483DB-0E2D-46D9-8B67-0F79DE8443B2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336712" y="349736"/>
            <a:ext cx="11520326" cy="330072"/>
          </a:xfrm>
          <a:prstGeom prst="rect">
            <a:avLst/>
          </a:prstGeom>
        </p:spPr>
        <p:txBody>
          <a:bodyPr lIns="72000" tIns="72000" rIns="72000" bIns="72000" anchor="t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BFB41EA-1AD7-4465-961A-4D25CE0E4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7D93AC5-8748-4795-8D95-C2458C3BF4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FE5DAC0-CAEC-4CB8-8522-ABA4D73EE9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759" y="4663490"/>
            <a:ext cx="11532963" cy="360362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2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ctr">
              <a:spcBef>
                <a:spcPct val="0"/>
              </a:spcBef>
            </a:pPr>
            <a:r>
              <a:rPr lang="en-US" dirty="0"/>
              <a:t>CLICK TO EDIT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9DCB79-BC35-4DF8-A0CB-9AC113739113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34963" y="5034693"/>
            <a:ext cx="11522075" cy="1031804"/>
          </a:xfrm>
          <a:prstGeom prst="rect">
            <a:avLst/>
          </a:prstGeom>
        </p:spPr>
        <p:txBody>
          <a:bodyPr anchor="ctr"/>
          <a:lstStyle>
            <a:lvl1pPr marL="0" indent="0" algn="ctr" defTabSz="89253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200" b="0" kern="1200" cap="none" spc="0" baseline="0" dirty="0" smtClean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Arial" charset="0"/>
              </a:defRPr>
            </a:lvl1pPr>
            <a:lvl2pPr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 indent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indent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indent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19081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eak_1_light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white">
            <a:extLst>
              <a:ext uri="{FF2B5EF4-FFF2-40B4-BE49-F238E27FC236}">
                <a16:creationId xmlns:a16="http://schemas.microsoft.com/office/drawing/2014/main" id="{D2BCC46F-B88F-4DAA-BF79-8DC79B152A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001347"/>
            <a:ext cx="11522074" cy="142765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ctr">
              <a:defRPr sz="60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ING 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334964" y="3565587"/>
            <a:ext cx="11522074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  <a:defRPr sz="12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FB24FB-A04A-4357-870F-B09FD72E4D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logo dark">
            <a:extLst>
              <a:ext uri="{FF2B5EF4-FFF2-40B4-BE49-F238E27FC236}">
                <a16:creationId xmlns:a16="http://schemas.microsoft.com/office/drawing/2014/main" id="{1C289150-747A-4AE7-9738-4227369B0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5C34E24-C970-430F-BBA2-4553999794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013326"/>
            <a:ext cx="11522075" cy="576262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 algn="ctr">
              <a:buNone/>
              <a:defRPr lang="en-US" sz="1050" b="0" spc="1000" baseline="0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264983" lvl="0" indent="-264983" algn="ctr">
              <a:lnSpc>
                <a:spcPct val="150000"/>
              </a:lnSpc>
              <a:spcBef>
                <a:spcPts val="0"/>
              </a:spcBef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00516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fade dark">
            <a:extLst>
              <a:ext uri="{FF2B5EF4-FFF2-40B4-BE49-F238E27FC236}">
                <a16:creationId xmlns:a16="http://schemas.microsoft.com/office/drawing/2014/main" id="{FD7F70F8-97A0-41EF-B940-79D0935633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logo white">
            <a:extLst>
              <a:ext uri="{FF2B5EF4-FFF2-40B4-BE49-F238E27FC236}">
                <a16:creationId xmlns:a16="http://schemas.microsoft.com/office/drawing/2014/main" id="{4B9EFEE8-EF73-47AE-974E-F216DBFBD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76725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04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e Valu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8D9F48D-E866-4D78-B24A-0263C54BBD60}"/>
              </a:ext>
            </a:extLst>
          </p:cNvPr>
          <p:cNvSpPr/>
          <p:nvPr userDrawn="1"/>
        </p:nvSpPr>
        <p:spPr bwMode="auto">
          <a:xfrm>
            <a:off x="334963" y="201582"/>
            <a:ext cx="11522075" cy="33007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CORPORATE CULTURE</a:t>
            </a:r>
            <a:endParaRPr lang="en-US" sz="120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3A8B8C4-4795-4044-8E33-833DF031D9C7}"/>
              </a:ext>
            </a:extLst>
          </p:cNvPr>
          <p:cNvSpPr/>
          <p:nvPr userDrawn="1"/>
        </p:nvSpPr>
        <p:spPr bwMode="auto">
          <a:xfrm>
            <a:off x="334963" y="483324"/>
            <a:ext cx="11522075" cy="63784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32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OUR CORE VALUES</a:t>
            </a:r>
            <a:endParaRPr lang="en-US" sz="3200" b="1" kern="120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88539405-5B31-479F-99B1-F9388DD026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3037DDE2-0D28-4AF0-B7FD-476167CCDB32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95E8D5B-780B-4473-9985-08FFE71E227C}"/>
              </a:ext>
            </a:extLst>
          </p:cNvPr>
          <p:cNvGrpSpPr/>
          <p:nvPr userDrawn="1"/>
        </p:nvGrpSpPr>
        <p:grpSpPr>
          <a:xfrm>
            <a:off x="1951546" y="3429000"/>
            <a:ext cx="1310593" cy="1973914"/>
            <a:chOff x="2162503" y="1268413"/>
            <a:chExt cx="1310593" cy="1973914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0419500-1499-4608-A0EB-4EF5C245F329}"/>
                </a:ext>
              </a:extLst>
            </p:cNvPr>
            <p:cNvSpPr/>
            <p:nvPr userDrawn="1"/>
          </p:nvSpPr>
          <p:spPr>
            <a:xfrm>
              <a:off x="2162503" y="1268413"/>
              <a:ext cx="1310593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Customer Focus 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085583F8-DB67-49A9-8118-DABA25CF80C0}"/>
                </a:ext>
              </a:extLst>
            </p:cNvPr>
            <p:cNvSpPr/>
            <p:nvPr userDrawn="1"/>
          </p:nvSpPr>
          <p:spPr>
            <a:xfrm>
              <a:off x="2171371" y="1901895"/>
              <a:ext cx="1292858" cy="13404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exceed expectations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rough great discipline and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ensure a world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class customer experience.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7F7902D-5ADA-47AB-B734-DD60CA7F6F1D}"/>
              </a:ext>
            </a:extLst>
          </p:cNvPr>
          <p:cNvGrpSpPr/>
          <p:nvPr userDrawn="1"/>
        </p:nvGrpSpPr>
        <p:grpSpPr>
          <a:xfrm>
            <a:off x="5356480" y="3429000"/>
            <a:ext cx="1379991" cy="1597582"/>
            <a:chOff x="5424039" y="1268413"/>
            <a:chExt cx="1379991" cy="1597582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13CD4DB8-51D1-40B6-B5A9-861B4FE169DC}"/>
                </a:ext>
              </a:extLst>
            </p:cNvPr>
            <p:cNvSpPr/>
            <p:nvPr userDrawn="1"/>
          </p:nvSpPr>
          <p:spPr>
            <a:xfrm>
              <a:off x="5424039" y="1268413"/>
              <a:ext cx="1379991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Speed 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E174EEF-4CBA-40B2-92A8-B7B584DEDF83}"/>
                </a:ext>
              </a:extLst>
            </p:cNvPr>
            <p:cNvSpPr/>
            <p:nvPr userDrawn="1"/>
          </p:nvSpPr>
          <p:spPr>
            <a:xfrm>
              <a:off x="5479520" y="1913362"/>
              <a:ext cx="1282542" cy="9526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Fast is better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an slow but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will not compromise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n quality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C7E128B-A529-4785-B625-3F4777DFA341}"/>
              </a:ext>
            </a:extLst>
          </p:cNvPr>
          <p:cNvGrpSpPr/>
          <p:nvPr userDrawn="1"/>
        </p:nvGrpSpPr>
        <p:grpSpPr>
          <a:xfrm>
            <a:off x="209832" y="3429000"/>
            <a:ext cx="1310593" cy="1780665"/>
            <a:chOff x="509873" y="1268413"/>
            <a:chExt cx="1310593" cy="1780665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AB7F68E8-0549-4AC4-8664-6DAA8E68905A}"/>
                </a:ext>
              </a:extLst>
            </p:cNvPr>
            <p:cNvSpPr/>
            <p:nvPr userDrawn="1"/>
          </p:nvSpPr>
          <p:spPr>
            <a:xfrm>
              <a:off x="509873" y="1268413"/>
              <a:ext cx="131059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Humble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3F3D7F1-4A7B-4091-AC0B-C84694013FF3}"/>
                </a:ext>
              </a:extLst>
            </p:cNvPr>
            <p:cNvSpPr/>
            <p:nvPr userDrawn="1"/>
          </p:nvSpPr>
          <p:spPr>
            <a:xfrm>
              <a:off x="509873" y="1902546"/>
              <a:ext cx="1310593" cy="11465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constantly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look to improve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never forget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e importance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f our customers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colleagues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FD708E1-E98D-4C0F-8980-A3293740136B}"/>
              </a:ext>
            </a:extLst>
          </p:cNvPr>
          <p:cNvGrpSpPr/>
          <p:nvPr userDrawn="1"/>
        </p:nvGrpSpPr>
        <p:grpSpPr>
          <a:xfrm>
            <a:off x="7125624" y="3429000"/>
            <a:ext cx="1310593" cy="1602558"/>
            <a:chOff x="7117545" y="1268413"/>
            <a:chExt cx="1310593" cy="1602558"/>
          </a:xfrm>
        </p:grpSpPr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53921961-DB08-4499-AE86-55D82FF729B9}"/>
                </a:ext>
              </a:extLst>
            </p:cNvPr>
            <p:cNvSpPr/>
            <p:nvPr userDrawn="1"/>
          </p:nvSpPr>
          <p:spPr>
            <a:xfrm>
              <a:off x="7117545" y="1268413"/>
              <a:ext cx="131059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Passion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1C88B44C-2F5E-4842-B1E3-28DAF85370C8}"/>
                </a:ext>
              </a:extLst>
            </p:cNvPr>
            <p:cNvSpPr/>
            <p:nvPr userDrawn="1"/>
          </p:nvSpPr>
          <p:spPr>
            <a:xfrm>
              <a:off x="7137760" y="1918338"/>
              <a:ext cx="1290378" cy="9526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strive for excellence, go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the extra mile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have fun in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hat we do.</a:t>
              </a:r>
              <a:endParaRPr lang="en-US" sz="1050" noProof="1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AD4E5BE-1C2C-4410-9EBA-FF727DD945F1}"/>
              </a:ext>
            </a:extLst>
          </p:cNvPr>
          <p:cNvGrpSpPr/>
          <p:nvPr userDrawn="1"/>
        </p:nvGrpSpPr>
        <p:grpSpPr>
          <a:xfrm>
            <a:off x="8937436" y="3429000"/>
            <a:ext cx="1294150" cy="1791481"/>
            <a:chOff x="8765429" y="1268413"/>
            <a:chExt cx="1294150" cy="1791481"/>
          </a:xfrm>
        </p:grpSpPr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532DF01E-3DD1-4C99-8D38-BA7877050AAB}"/>
                </a:ext>
              </a:extLst>
            </p:cNvPr>
            <p:cNvSpPr/>
            <p:nvPr userDrawn="1"/>
          </p:nvSpPr>
          <p:spPr>
            <a:xfrm>
              <a:off x="8765429" y="1268413"/>
              <a:ext cx="1294150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Integrity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DB25BEA7-817E-446F-A4EC-5EE47E037BB1}"/>
                </a:ext>
              </a:extLst>
            </p:cNvPr>
            <p:cNvSpPr/>
            <p:nvPr userDrawn="1"/>
          </p:nvSpPr>
          <p:spPr>
            <a:xfrm>
              <a:off x="8766646" y="1913362"/>
              <a:ext cx="1292932" cy="11465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are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consistent,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honest and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fair and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lways do </a:t>
              </a:r>
              <a:b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noProof="1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hat is right.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9EEAD56-0818-489A-BD46-7F8F837C4879}"/>
              </a:ext>
            </a:extLst>
          </p:cNvPr>
          <p:cNvGrpSpPr/>
          <p:nvPr userDrawn="1"/>
        </p:nvGrpSpPr>
        <p:grpSpPr>
          <a:xfrm>
            <a:off x="3631829" y="3429000"/>
            <a:ext cx="1485600" cy="1781956"/>
            <a:chOff x="3717121" y="1268413"/>
            <a:chExt cx="1485600" cy="1781956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D6021C56-6A31-4C07-A2FE-E099C7CA5AB2}"/>
                </a:ext>
              </a:extLst>
            </p:cNvPr>
            <p:cNvSpPr/>
            <p:nvPr userDrawn="1"/>
          </p:nvSpPr>
          <p:spPr>
            <a:xfrm>
              <a:off x="3717121" y="1268413"/>
              <a:ext cx="1485600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Employee Satisfaction</a:t>
              </a:r>
              <a:endParaRPr lang="en-IN" sz="1400" b="1" dirty="0">
                <a:solidFill>
                  <a:schemeClr val="tx1"/>
                </a:solidFill>
                <a:latin typeface="+mj-lt"/>
                <a:cs typeface="Segoe UI Semibold" panose="020B0702040204020203" pitchFamily="34" charset="0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2A14E9AE-A631-4DEE-873B-D077A5C2297F}"/>
                </a:ext>
              </a:extLst>
            </p:cNvPr>
            <p:cNvSpPr/>
            <p:nvPr userDrawn="1"/>
          </p:nvSpPr>
          <p:spPr>
            <a:xfrm>
              <a:off x="3790340" y="1903837"/>
              <a:ext cx="1272763" cy="11465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ur greatest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sset. We love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support our colleagues and operate without hierarchy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87A7B7-ED14-4ECD-9289-9465931AFB63}"/>
              </a:ext>
            </a:extLst>
          </p:cNvPr>
          <p:cNvGrpSpPr/>
          <p:nvPr userDrawn="1"/>
        </p:nvGrpSpPr>
        <p:grpSpPr>
          <a:xfrm>
            <a:off x="10670602" y="3429000"/>
            <a:ext cx="1301082" cy="1985381"/>
            <a:chOff x="10324668" y="1268413"/>
            <a:chExt cx="1301082" cy="1985381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971E13F0-6D2D-4702-AAED-0335F9E8BA86}"/>
                </a:ext>
              </a:extLst>
            </p:cNvPr>
            <p:cNvSpPr/>
            <p:nvPr userDrawn="1"/>
          </p:nvSpPr>
          <p:spPr>
            <a:xfrm>
              <a:off x="10333549" y="1268413"/>
              <a:ext cx="1292201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Segoe UI Semibold" panose="020B0702040204020203" pitchFamily="34" charset="0"/>
                </a:rPr>
                <a:t>Discipline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66275F8F-238C-44A5-8618-D85FF52BFBD2}"/>
                </a:ext>
              </a:extLst>
            </p:cNvPr>
            <p:cNvSpPr/>
            <p:nvPr userDrawn="1"/>
          </p:nvSpPr>
          <p:spPr>
            <a:xfrm>
              <a:off x="10324668" y="1913362"/>
              <a:ext cx="1292201" cy="13404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293"/>
                </a:spcAft>
                <a:buClr>
                  <a:srgbClr val="0057A8"/>
                </a:buClr>
              </a:pP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In everything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do.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We accept responsibility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and deliver </a:t>
              </a:r>
              <a:b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</a:br>
              <a:r>
                <a:rPr lang="en-US" sz="1050" dirty="0">
                  <a:solidFill>
                    <a:schemeClr val="tx1"/>
                  </a:solidFill>
                  <a:latin typeface="+mn-lt"/>
                  <a:cs typeface="Segoe UI Semilight" panose="020B0402040204020203" pitchFamily="34" charset="0"/>
                </a:rPr>
                <a:t>on all of our commitments.</a:t>
              </a:r>
            </a:p>
          </p:txBody>
        </p:sp>
      </p:grpSp>
      <p:sp>
        <p:nvSpPr>
          <p:cNvPr id="36" name="Freeform 24">
            <a:extLst>
              <a:ext uri="{FF2B5EF4-FFF2-40B4-BE49-F238E27FC236}">
                <a16:creationId xmlns:a16="http://schemas.microsoft.com/office/drawing/2014/main" id="{8B19220E-79BC-4003-8CCE-BFCECCF5C38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88122" y="2515452"/>
            <a:ext cx="354012" cy="471488"/>
          </a:xfrm>
          <a:custGeom>
            <a:avLst/>
            <a:gdLst>
              <a:gd name="T0" fmla="*/ 228 w 448"/>
              <a:gd name="T1" fmla="*/ 4 h 593"/>
              <a:gd name="T2" fmla="*/ 246 w 448"/>
              <a:gd name="T3" fmla="*/ 4 h 593"/>
              <a:gd name="T4" fmla="*/ 248 w 448"/>
              <a:gd name="T5" fmla="*/ 112 h 593"/>
              <a:gd name="T6" fmla="*/ 232 w 448"/>
              <a:gd name="T7" fmla="*/ 118 h 593"/>
              <a:gd name="T8" fmla="*/ 138 w 448"/>
              <a:gd name="T9" fmla="*/ 142 h 593"/>
              <a:gd name="T10" fmla="*/ 152 w 448"/>
              <a:gd name="T11" fmla="*/ 146 h 593"/>
              <a:gd name="T12" fmla="*/ 158 w 448"/>
              <a:gd name="T13" fmla="*/ 130 h 593"/>
              <a:gd name="T14" fmla="*/ 80 w 448"/>
              <a:gd name="T15" fmla="*/ 54 h 593"/>
              <a:gd name="T16" fmla="*/ 68 w 448"/>
              <a:gd name="T17" fmla="*/ 66 h 593"/>
              <a:gd name="T18" fmla="*/ 328 w 448"/>
              <a:gd name="T19" fmla="*/ 225 h 593"/>
              <a:gd name="T20" fmla="*/ 436 w 448"/>
              <a:gd name="T21" fmla="*/ 237 h 593"/>
              <a:gd name="T22" fmla="*/ 448 w 448"/>
              <a:gd name="T23" fmla="*/ 225 h 593"/>
              <a:gd name="T24" fmla="*/ 436 w 448"/>
              <a:gd name="T25" fmla="*/ 213 h 593"/>
              <a:gd name="T26" fmla="*/ 328 w 448"/>
              <a:gd name="T27" fmla="*/ 221 h 593"/>
              <a:gd name="T28" fmla="*/ 134 w 448"/>
              <a:gd name="T29" fmla="*/ 237 h 593"/>
              <a:gd name="T30" fmla="*/ 146 w 448"/>
              <a:gd name="T31" fmla="*/ 225 h 593"/>
              <a:gd name="T32" fmla="*/ 38 w 448"/>
              <a:gd name="T33" fmla="*/ 213 h 593"/>
              <a:gd name="T34" fmla="*/ 26 w 448"/>
              <a:gd name="T35" fmla="*/ 225 h 593"/>
              <a:gd name="T36" fmla="*/ 38 w 448"/>
              <a:gd name="T37" fmla="*/ 237 h 593"/>
              <a:gd name="T38" fmla="*/ 326 w 448"/>
              <a:gd name="T39" fmla="*/ 150 h 593"/>
              <a:gd name="T40" fmla="*/ 396 w 448"/>
              <a:gd name="T41" fmla="*/ 68 h 593"/>
              <a:gd name="T42" fmla="*/ 380 w 448"/>
              <a:gd name="T43" fmla="*/ 62 h 593"/>
              <a:gd name="T44" fmla="*/ 306 w 448"/>
              <a:gd name="T45" fmla="*/ 140 h 593"/>
              <a:gd name="T46" fmla="*/ 318 w 448"/>
              <a:gd name="T47" fmla="*/ 152 h 593"/>
              <a:gd name="T48" fmla="*/ 420 w 448"/>
              <a:gd name="T49" fmla="*/ 531 h 593"/>
              <a:gd name="T50" fmla="*/ 396 w 448"/>
              <a:gd name="T51" fmla="*/ 577 h 593"/>
              <a:gd name="T52" fmla="*/ 156 w 448"/>
              <a:gd name="T53" fmla="*/ 593 h 593"/>
              <a:gd name="T54" fmla="*/ 114 w 448"/>
              <a:gd name="T55" fmla="*/ 575 h 593"/>
              <a:gd name="T56" fmla="*/ 94 w 448"/>
              <a:gd name="T57" fmla="*/ 585 h 593"/>
              <a:gd name="T58" fmla="*/ 2 w 448"/>
              <a:gd name="T59" fmla="*/ 571 h 593"/>
              <a:gd name="T60" fmla="*/ 6 w 448"/>
              <a:gd name="T61" fmla="*/ 337 h 593"/>
              <a:gd name="T62" fmla="*/ 104 w 448"/>
              <a:gd name="T63" fmla="*/ 333 h 593"/>
              <a:gd name="T64" fmla="*/ 128 w 448"/>
              <a:gd name="T65" fmla="*/ 331 h 593"/>
              <a:gd name="T66" fmla="*/ 182 w 448"/>
              <a:gd name="T67" fmla="*/ 285 h 593"/>
              <a:gd name="T68" fmla="*/ 188 w 448"/>
              <a:gd name="T69" fmla="*/ 178 h 593"/>
              <a:gd name="T70" fmla="*/ 196 w 448"/>
              <a:gd name="T71" fmla="*/ 168 h 593"/>
              <a:gd name="T72" fmla="*/ 252 w 448"/>
              <a:gd name="T73" fmla="*/ 168 h 593"/>
              <a:gd name="T74" fmla="*/ 286 w 448"/>
              <a:gd name="T75" fmla="*/ 217 h 593"/>
              <a:gd name="T76" fmla="*/ 396 w 448"/>
              <a:gd name="T77" fmla="*/ 307 h 593"/>
              <a:gd name="T78" fmla="*/ 440 w 448"/>
              <a:gd name="T79" fmla="*/ 343 h 593"/>
              <a:gd name="T80" fmla="*/ 24 w 448"/>
              <a:gd name="T81" fmla="*/ 355 h 593"/>
              <a:gd name="T82" fmla="*/ 422 w 448"/>
              <a:gd name="T83" fmla="*/ 367 h 593"/>
              <a:gd name="T84" fmla="*/ 404 w 448"/>
              <a:gd name="T85" fmla="*/ 335 h 593"/>
              <a:gd name="T86" fmla="*/ 276 w 448"/>
              <a:gd name="T87" fmla="*/ 329 h 593"/>
              <a:gd name="T88" fmla="*/ 264 w 448"/>
              <a:gd name="T89" fmla="*/ 237 h 593"/>
              <a:gd name="T90" fmla="*/ 248 w 448"/>
              <a:gd name="T91" fmla="*/ 194 h 593"/>
              <a:gd name="T92" fmla="*/ 212 w 448"/>
              <a:gd name="T93" fmla="*/ 188 h 593"/>
              <a:gd name="T94" fmla="*/ 204 w 448"/>
              <a:gd name="T95" fmla="*/ 293 h 593"/>
              <a:gd name="T96" fmla="*/ 152 w 448"/>
              <a:gd name="T97" fmla="*/ 347 h 593"/>
              <a:gd name="T98" fmla="*/ 118 w 448"/>
              <a:gd name="T99" fmla="*/ 529 h 593"/>
              <a:gd name="T100" fmla="*/ 130 w 448"/>
              <a:gd name="T101" fmla="*/ 557 h 593"/>
              <a:gd name="T102" fmla="*/ 346 w 448"/>
              <a:gd name="T103" fmla="*/ 569 h 593"/>
              <a:gd name="T104" fmla="*/ 380 w 448"/>
              <a:gd name="T105" fmla="*/ 559 h 593"/>
              <a:gd name="T106" fmla="*/ 396 w 448"/>
              <a:gd name="T107" fmla="*/ 52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8" h="593">
                <a:moveTo>
                  <a:pt x="226" y="108"/>
                </a:moveTo>
                <a:lnTo>
                  <a:pt x="226" y="12"/>
                </a:lnTo>
                <a:lnTo>
                  <a:pt x="226" y="12"/>
                </a:lnTo>
                <a:lnTo>
                  <a:pt x="226" y="8"/>
                </a:lnTo>
                <a:lnTo>
                  <a:pt x="228" y="4"/>
                </a:lnTo>
                <a:lnTo>
                  <a:pt x="232" y="0"/>
                </a:lnTo>
                <a:lnTo>
                  <a:pt x="238" y="0"/>
                </a:lnTo>
                <a:lnTo>
                  <a:pt x="238" y="0"/>
                </a:lnTo>
                <a:lnTo>
                  <a:pt x="242" y="0"/>
                </a:lnTo>
                <a:lnTo>
                  <a:pt x="246" y="4"/>
                </a:lnTo>
                <a:lnTo>
                  <a:pt x="248" y="8"/>
                </a:lnTo>
                <a:lnTo>
                  <a:pt x="250" y="12"/>
                </a:lnTo>
                <a:lnTo>
                  <a:pt x="250" y="108"/>
                </a:lnTo>
                <a:lnTo>
                  <a:pt x="250" y="108"/>
                </a:lnTo>
                <a:lnTo>
                  <a:pt x="248" y="112"/>
                </a:lnTo>
                <a:lnTo>
                  <a:pt x="246" y="116"/>
                </a:lnTo>
                <a:lnTo>
                  <a:pt x="242" y="118"/>
                </a:lnTo>
                <a:lnTo>
                  <a:pt x="238" y="120"/>
                </a:lnTo>
                <a:lnTo>
                  <a:pt x="238" y="120"/>
                </a:lnTo>
                <a:lnTo>
                  <a:pt x="232" y="118"/>
                </a:lnTo>
                <a:lnTo>
                  <a:pt x="228" y="116"/>
                </a:lnTo>
                <a:lnTo>
                  <a:pt x="226" y="112"/>
                </a:lnTo>
                <a:lnTo>
                  <a:pt x="226" y="108"/>
                </a:lnTo>
                <a:lnTo>
                  <a:pt x="226" y="108"/>
                </a:lnTo>
                <a:close/>
                <a:moveTo>
                  <a:pt x="138" y="142"/>
                </a:moveTo>
                <a:lnTo>
                  <a:pt x="138" y="142"/>
                </a:lnTo>
                <a:lnTo>
                  <a:pt x="142" y="146"/>
                </a:lnTo>
                <a:lnTo>
                  <a:pt x="146" y="146"/>
                </a:lnTo>
                <a:lnTo>
                  <a:pt x="146" y="146"/>
                </a:lnTo>
                <a:lnTo>
                  <a:pt x="152" y="146"/>
                </a:lnTo>
                <a:lnTo>
                  <a:pt x="156" y="142"/>
                </a:lnTo>
                <a:lnTo>
                  <a:pt x="156" y="142"/>
                </a:lnTo>
                <a:lnTo>
                  <a:pt x="158" y="138"/>
                </a:lnTo>
                <a:lnTo>
                  <a:pt x="158" y="134"/>
                </a:lnTo>
                <a:lnTo>
                  <a:pt x="158" y="130"/>
                </a:lnTo>
                <a:lnTo>
                  <a:pt x="156" y="126"/>
                </a:lnTo>
                <a:lnTo>
                  <a:pt x="88" y="58"/>
                </a:lnTo>
                <a:lnTo>
                  <a:pt x="88" y="58"/>
                </a:lnTo>
                <a:lnTo>
                  <a:pt x="84" y="56"/>
                </a:lnTo>
                <a:lnTo>
                  <a:pt x="80" y="54"/>
                </a:lnTo>
                <a:lnTo>
                  <a:pt x="76" y="56"/>
                </a:lnTo>
                <a:lnTo>
                  <a:pt x="72" y="58"/>
                </a:lnTo>
                <a:lnTo>
                  <a:pt x="72" y="58"/>
                </a:lnTo>
                <a:lnTo>
                  <a:pt x="68" y="62"/>
                </a:lnTo>
                <a:lnTo>
                  <a:pt x="68" y="66"/>
                </a:lnTo>
                <a:lnTo>
                  <a:pt x="68" y="72"/>
                </a:lnTo>
                <a:lnTo>
                  <a:pt x="72" y="76"/>
                </a:lnTo>
                <a:lnTo>
                  <a:pt x="138" y="142"/>
                </a:lnTo>
                <a:close/>
                <a:moveTo>
                  <a:pt x="328" y="225"/>
                </a:moveTo>
                <a:lnTo>
                  <a:pt x="328" y="225"/>
                </a:lnTo>
                <a:lnTo>
                  <a:pt x="328" y="229"/>
                </a:lnTo>
                <a:lnTo>
                  <a:pt x="332" y="233"/>
                </a:lnTo>
                <a:lnTo>
                  <a:pt x="336" y="237"/>
                </a:lnTo>
                <a:lnTo>
                  <a:pt x="340" y="237"/>
                </a:lnTo>
                <a:lnTo>
                  <a:pt x="436" y="237"/>
                </a:lnTo>
                <a:lnTo>
                  <a:pt x="436" y="237"/>
                </a:lnTo>
                <a:lnTo>
                  <a:pt x="440" y="237"/>
                </a:lnTo>
                <a:lnTo>
                  <a:pt x="444" y="233"/>
                </a:lnTo>
                <a:lnTo>
                  <a:pt x="446" y="229"/>
                </a:lnTo>
                <a:lnTo>
                  <a:pt x="448" y="225"/>
                </a:lnTo>
                <a:lnTo>
                  <a:pt x="448" y="225"/>
                </a:lnTo>
                <a:lnTo>
                  <a:pt x="446" y="221"/>
                </a:lnTo>
                <a:lnTo>
                  <a:pt x="444" y="217"/>
                </a:lnTo>
                <a:lnTo>
                  <a:pt x="440" y="215"/>
                </a:lnTo>
                <a:lnTo>
                  <a:pt x="436" y="213"/>
                </a:lnTo>
                <a:lnTo>
                  <a:pt x="340" y="213"/>
                </a:lnTo>
                <a:lnTo>
                  <a:pt x="340" y="213"/>
                </a:lnTo>
                <a:lnTo>
                  <a:pt x="336" y="215"/>
                </a:lnTo>
                <a:lnTo>
                  <a:pt x="332" y="217"/>
                </a:lnTo>
                <a:lnTo>
                  <a:pt x="328" y="221"/>
                </a:lnTo>
                <a:lnTo>
                  <a:pt x="328" y="225"/>
                </a:lnTo>
                <a:lnTo>
                  <a:pt x="328" y="225"/>
                </a:lnTo>
                <a:close/>
                <a:moveTo>
                  <a:pt x="38" y="237"/>
                </a:moveTo>
                <a:lnTo>
                  <a:pt x="134" y="237"/>
                </a:lnTo>
                <a:lnTo>
                  <a:pt x="134" y="237"/>
                </a:lnTo>
                <a:lnTo>
                  <a:pt x="138" y="237"/>
                </a:lnTo>
                <a:lnTo>
                  <a:pt x="142" y="233"/>
                </a:lnTo>
                <a:lnTo>
                  <a:pt x="146" y="229"/>
                </a:lnTo>
                <a:lnTo>
                  <a:pt x="146" y="225"/>
                </a:lnTo>
                <a:lnTo>
                  <a:pt x="146" y="225"/>
                </a:lnTo>
                <a:lnTo>
                  <a:pt x="146" y="221"/>
                </a:lnTo>
                <a:lnTo>
                  <a:pt x="142" y="217"/>
                </a:lnTo>
                <a:lnTo>
                  <a:pt x="138" y="215"/>
                </a:lnTo>
                <a:lnTo>
                  <a:pt x="134" y="213"/>
                </a:lnTo>
                <a:lnTo>
                  <a:pt x="38" y="213"/>
                </a:lnTo>
                <a:lnTo>
                  <a:pt x="38" y="213"/>
                </a:lnTo>
                <a:lnTo>
                  <a:pt x="34" y="215"/>
                </a:lnTo>
                <a:lnTo>
                  <a:pt x="30" y="217"/>
                </a:lnTo>
                <a:lnTo>
                  <a:pt x="28" y="221"/>
                </a:lnTo>
                <a:lnTo>
                  <a:pt x="26" y="225"/>
                </a:lnTo>
                <a:lnTo>
                  <a:pt x="26" y="225"/>
                </a:lnTo>
                <a:lnTo>
                  <a:pt x="28" y="229"/>
                </a:lnTo>
                <a:lnTo>
                  <a:pt x="30" y="233"/>
                </a:lnTo>
                <a:lnTo>
                  <a:pt x="34" y="237"/>
                </a:lnTo>
                <a:lnTo>
                  <a:pt x="38" y="237"/>
                </a:lnTo>
                <a:lnTo>
                  <a:pt x="38" y="237"/>
                </a:lnTo>
                <a:close/>
                <a:moveTo>
                  <a:pt x="318" y="152"/>
                </a:moveTo>
                <a:lnTo>
                  <a:pt x="318" y="152"/>
                </a:lnTo>
                <a:lnTo>
                  <a:pt x="322" y="152"/>
                </a:lnTo>
                <a:lnTo>
                  <a:pt x="326" y="150"/>
                </a:lnTo>
                <a:lnTo>
                  <a:pt x="394" y="82"/>
                </a:lnTo>
                <a:lnTo>
                  <a:pt x="394" y="82"/>
                </a:lnTo>
                <a:lnTo>
                  <a:pt x="396" y="78"/>
                </a:lnTo>
                <a:lnTo>
                  <a:pt x="396" y="74"/>
                </a:lnTo>
                <a:lnTo>
                  <a:pt x="396" y="68"/>
                </a:lnTo>
                <a:lnTo>
                  <a:pt x="394" y="64"/>
                </a:lnTo>
                <a:lnTo>
                  <a:pt x="394" y="64"/>
                </a:lnTo>
                <a:lnTo>
                  <a:pt x="390" y="62"/>
                </a:lnTo>
                <a:lnTo>
                  <a:pt x="384" y="62"/>
                </a:lnTo>
                <a:lnTo>
                  <a:pt x="380" y="62"/>
                </a:lnTo>
                <a:lnTo>
                  <a:pt x="376" y="64"/>
                </a:lnTo>
                <a:lnTo>
                  <a:pt x="308" y="132"/>
                </a:lnTo>
                <a:lnTo>
                  <a:pt x="308" y="132"/>
                </a:lnTo>
                <a:lnTo>
                  <a:pt x="306" y="136"/>
                </a:lnTo>
                <a:lnTo>
                  <a:pt x="306" y="140"/>
                </a:lnTo>
                <a:lnTo>
                  <a:pt x="306" y="146"/>
                </a:lnTo>
                <a:lnTo>
                  <a:pt x="308" y="150"/>
                </a:lnTo>
                <a:lnTo>
                  <a:pt x="308" y="150"/>
                </a:lnTo>
                <a:lnTo>
                  <a:pt x="312" y="152"/>
                </a:lnTo>
                <a:lnTo>
                  <a:pt x="318" y="152"/>
                </a:lnTo>
                <a:lnTo>
                  <a:pt x="318" y="152"/>
                </a:lnTo>
                <a:close/>
                <a:moveTo>
                  <a:pt x="446" y="367"/>
                </a:moveTo>
                <a:lnTo>
                  <a:pt x="446" y="367"/>
                </a:lnTo>
                <a:lnTo>
                  <a:pt x="446" y="369"/>
                </a:lnTo>
                <a:lnTo>
                  <a:pt x="420" y="531"/>
                </a:lnTo>
                <a:lnTo>
                  <a:pt x="420" y="531"/>
                </a:lnTo>
                <a:lnTo>
                  <a:pt x="416" y="545"/>
                </a:lnTo>
                <a:lnTo>
                  <a:pt x="412" y="557"/>
                </a:lnTo>
                <a:lnTo>
                  <a:pt x="406" y="567"/>
                </a:lnTo>
                <a:lnTo>
                  <a:pt x="396" y="577"/>
                </a:lnTo>
                <a:lnTo>
                  <a:pt x="386" y="583"/>
                </a:lnTo>
                <a:lnTo>
                  <a:pt x="374" y="589"/>
                </a:lnTo>
                <a:lnTo>
                  <a:pt x="360" y="591"/>
                </a:lnTo>
                <a:lnTo>
                  <a:pt x="346" y="593"/>
                </a:lnTo>
                <a:lnTo>
                  <a:pt x="156" y="593"/>
                </a:lnTo>
                <a:lnTo>
                  <a:pt x="156" y="593"/>
                </a:lnTo>
                <a:lnTo>
                  <a:pt x="144" y="591"/>
                </a:lnTo>
                <a:lnTo>
                  <a:pt x="132" y="587"/>
                </a:lnTo>
                <a:lnTo>
                  <a:pt x="122" y="583"/>
                </a:lnTo>
                <a:lnTo>
                  <a:pt x="114" y="575"/>
                </a:lnTo>
                <a:lnTo>
                  <a:pt x="114" y="575"/>
                </a:lnTo>
                <a:lnTo>
                  <a:pt x="110" y="579"/>
                </a:lnTo>
                <a:lnTo>
                  <a:pt x="106" y="583"/>
                </a:lnTo>
                <a:lnTo>
                  <a:pt x="100" y="585"/>
                </a:lnTo>
                <a:lnTo>
                  <a:pt x="94" y="585"/>
                </a:lnTo>
                <a:lnTo>
                  <a:pt x="24" y="585"/>
                </a:lnTo>
                <a:lnTo>
                  <a:pt x="24" y="585"/>
                </a:lnTo>
                <a:lnTo>
                  <a:pt x="14" y="583"/>
                </a:lnTo>
                <a:lnTo>
                  <a:pt x="6" y="579"/>
                </a:lnTo>
                <a:lnTo>
                  <a:pt x="2" y="571"/>
                </a:lnTo>
                <a:lnTo>
                  <a:pt x="0" y="561"/>
                </a:lnTo>
                <a:lnTo>
                  <a:pt x="0" y="355"/>
                </a:lnTo>
                <a:lnTo>
                  <a:pt x="0" y="355"/>
                </a:lnTo>
                <a:lnTo>
                  <a:pt x="2" y="345"/>
                </a:lnTo>
                <a:lnTo>
                  <a:pt x="6" y="337"/>
                </a:lnTo>
                <a:lnTo>
                  <a:pt x="14" y="333"/>
                </a:lnTo>
                <a:lnTo>
                  <a:pt x="24" y="331"/>
                </a:lnTo>
                <a:lnTo>
                  <a:pt x="94" y="331"/>
                </a:lnTo>
                <a:lnTo>
                  <a:pt x="94" y="331"/>
                </a:lnTo>
                <a:lnTo>
                  <a:pt x="104" y="333"/>
                </a:lnTo>
                <a:lnTo>
                  <a:pt x="112" y="339"/>
                </a:lnTo>
                <a:lnTo>
                  <a:pt x="112" y="339"/>
                </a:lnTo>
                <a:lnTo>
                  <a:pt x="116" y="337"/>
                </a:lnTo>
                <a:lnTo>
                  <a:pt x="116" y="337"/>
                </a:lnTo>
                <a:lnTo>
                  <a:pt x="128" y="331"/>
                </a:lnTo>
                <a:lnTo>
                  <a:pt x="140" y="325"/>
                </a:lnTo>
                <a:lnTo>
                  <a:pt x="154" y="317"/>
                </a:lnTo>
                <a:lnTo>
                  <a:pt x="166" y="307"/>
                </a:lnTo>
                <a:lnTo>
                  <a:pt x="178" y="293"/>
                </a:lnTo>
                <a:lnTo>
                  <a:pt x="182" y="285"/>
                </a:lnTo>
                <a:lnTo>
                  <a:pt x="186" y="275"/>
                </a:lnTo>
                <a:lnTo>
                  <a:pt x="188" y="265"/>
                </a:lnTo>
                <a:lnTo>
                  <a:pt x="188" y="255"/>
                </a:lnTo>
                <a:lnTo>
                  <a:pt x="188" y="178"/>
                </a:lnTo>
                <a:lnTo>
                  <a:pt x="188" y="178"/>
                </a:lnTo>
                <a:lnTo>
                  <a:pt x="190" y="174"/>
                </a:lnTo>
                <a:lnTo>
                  <a:pt x="190" y="172"/>
                </a:lnTo>
                <a:lnTo>
                  <a:pt x="194" y="168"/>
                </a:lnTo>
                <a:lnTo>
                  <a:pt x="196" y="168"/>
                </a:lnTo>
                <a:lnTo>
                  <a:pt x="196" y="168"/>
                </a:lnTo>
                <a:lnTo>
                  <a:pt x="204" y="166"/>
                </a:lnTo>
                <a:lnTo>
                  <a:pt x="220" y="164"/>
                </a:lnTo>
                <a:lnTo>
                  <a:pt x="230" y="164"/>
                </a:lnTo>
                <a:lnTo>
                  <a:pt x="242" y="166"/>
                </a:lnTo>
                <a:lnTo>
                  <a:pt x="252" y="168"/>
                </a:lnTo>
                <a:lnTo>
                  <a:pt x="262" y="176"/>
                </a:lnTo>
                <a:lnTo>
                  <a:pt x="262" y="176"/>
                </a:lnTo>
                <a:lnTo>
                  <a:pt x="274" y="186"/>
                </a:lnTo>
                <a:lnTo>
                  <a:pt x="282" y="200"/>
                </a:lnTo>
                <a:lnTo>
                  <a:pt x="286" y="217"/>
                </a:lnTo>
                <a:lnTo>
                  <a:pt x="288" y="237"/>
                </a:lnTo>
                <a:lnTo>
                  <a:pt x="288" y="305"/>
                </a:lnTo>
                <a:lnTo>
                  <a:pt x="382" y="305"/>
                </a:lnTo>
                <a:lnTo>
                  <a:pt x="382" y="305"/>
                </a:lnTo>
                <a:lnTo>
                  <a:pt x="396" y="307"/>
                </a:lnTo>
                <a:lnTo>
                  <a:pt x="408" y="311"/>
                </a:lnTo>
                <a:lnTo>
                  <a:pt x="418" y="315"/>
                </a:lnTo>
                <a:lnTo>
                  <a:pt x="426" y="323"/>
                </a:lnTo>
                <a:lnTo>
                  <a:pt x="434" y="333"/>
                </a:lnTo>
                <a:lnTo>
                  <a:pt x="440" y="343"/>
                </a:lnTo>
                <a:lnTo>
                  <a:pt x="444" y="355"/>
                </a:lnTo>
                <a:lnTo>
                  <a:pt x="446" y="367"/>
                </a:lnTo>
                <a:lnTo>
                  <a:pt x="446" y="367"/>
                </a:lnTo>
                <a:close/>
                <a:moveTo>
                  <a:pt x="94" y="355"/>
                </a:moveTo>
                <a:lnTo>
                  <a:pt x="24" y="355"/>
                </a:lnTo>
                <a:lnTo>
                  <a:pt x="24" y="561"/>
                </a:lnTo>
                <a:lnTo>
                  <a:pt x="94" y="561"/>
                </a:lnTo>
                <a:lnTo>
                  <a:pt x="94" y="355"/>
                </a:lnTo>
                <a:close/>
                <a:moveTo>
                  <a:pt x="422" y="367"/>
                </a:moveTo>
                <a:lnTo>
                  <a:pt x="422" y="367"/>
                </a:lnTo>
                <a:lnTo>
                  <a:pt x="420" y="359"/>
                </a:lnTo>
                <a:lnTo>
                  <a:pt x="418" y="353"/>
                </a:lnTo>
                <a:lnTo>
                  <a:pt x="414" y="345"/>
                </a:lnTo>
                <a:lnTo>
                  <a:pt x="410" y="341"/>
                </a:lnTo>
                <a:lnTo>
                  <a:pt x="404" y="335"/>
                </a:lnTo>
                <a:lnTo>
                  <a:pt x="398" y="331"/>
                </a:lnTo>
                <a:lnTo>
                  <a:pt x="390" y="329"/>
                </a:lnTo>
                <a:lnTo>
                  <a:pt x="382" y="329"/>
                </a:lnTo>
                <a:lnTo>
                  <a:pt x="276" y="329"/>
                </a:lnTo>
                <a:lnTo>
                  <a:pt x="276" y="329"/>
                </a:lnTo>
                <a:lnTo>
                  <a:pt x="272" y="329"/>
                </a:lnTo>
                <a:lnTo>
                  <a:pt x="268" y="325"/>
                </a:lnTo>
                <a:lnTo>
                  <a:pt x="266" y="321"/>
                </a:lnTo>
                <a:lnTo>
                  <a:pt x="264" y="317"/>
                </a:lnTo>
                <a:lnTo>
                  <a:pt x="264" y="237"/>
                </a:lnTo>
                <a:lnTo>
                  <a:pt x="264" y="237"/>
                </a:lnTo>
                <a:lnTo>
                  <a:pt x="264" y="223"/>
                </a:lnTo>
                <a:lnTo>
                  <a:pt x="260" y="211"/>
                </a:lnTo>
                <a:lnTo>
                  <a:pt x="256" y="202"/>
                </a:lnTo>
                <a:lnTo>
                  <a:pt x="248" y="194"/>
                </a:lnTo>
                <a:lnTo>
                  <a:pt x="248" y="194"/>
                </a:lnTo>
                <a:lnTo>
                  <a:pt x="240" y="190"/>
                </a:lnTo>
                <a:lnTo>
                  <a:pt x="230" y="188"/>
                </a:lnTo>
                <a:lnTo>
                  <a:pt x="220" y="188"/>
                </a:lnTo>
                <a:lnTo>
                  <a:pt x="212" y="188"/>
                </a:lnTo>
                <a:lnTo>
                  <a:pt x="212" y="255"/>
                </a:lnTo>
                <a:lnTo>
                  <a:pt x="212" y="255"/>
                </a:lnTo>
                <a:lnTo>
                  <a:pt x="212" y="269"/>
                </a:lnTo>
                <a:lnTo>
                  <a:pt x="208" y="281"/>
                </a:lnTo>
                <a:lnTo>
                  <a:pt x="204" y="293"/>
                </a:lnTo>
                <a:lnTo>
                  <a:pt x="198" y="305"/>
                </a:lnTo>
                <a:lnTo>
                  <a:pt x="192" y="313"/>
                </a:lnTo>
                <a:lnTo>
                  <a:pt x="184" y="323"/>
                </a:lnTo>
                <a:lnTo>
                  <a:pt x="168" y="337"/>
                </a:lnTo>
                <a:lnTo>
                  <a:pt x="152" y="347"/>
                </a:lnTo>
                <a:lnTo>
                  <a:pt x="138" y="353"/>
                </a:lnTo>
                <a:lnTo>
                  <a:pt x="122" y="359"/>
                </a:lnTo>
                <a:lnTo>
                  <a:pt x="122" y="359"/>
                </a:lnTo>
                <a:lnTo>
                  <a:pt x="118" y="359"/>
                </a:lnTo>
                <a:lnTo>
                  <a:pt x="118" y="529"/>
                </a:lnTo>
                <a:lnTo>
                  <a:pt x="118" y="529"/>
                </a:lnTo>
                <a:lnTo>
                  <a:pt x="118" y="537"/>
                </a:lnTo>
                <a:lnTo>
                  <a:pt x="120" y="545"/>
                </a:lnTo>
                <a:lnTo>
                  <a:pt x="124" y="551"/>
                </a:lnTo>
                <a:lnTo>
                  <a:pt x="130" y="557"/>
                </a:lnTo>
                <a:lnTo>
                  <a:pt x="134" y="561"/>
                </a:lnTo>
                <a:lnTo>
                  <a:pt x="142" y="565"/>
                </a:lnTo>
                <a:lnTo>
                  <a:pt x="148" y="567"/>
                </a:lnTo>
                <a:lnTo>
                  <a:pt x="156" y="569"/>
                </a:lnTo>
                <a:lnTo>
                  <a:pt x="346" y="569"/>
                </a:lnTo>
                <a:lnTo>
                  <a:pt x="346" y="569"/>
                </a:lnTo>
                <a:lnTo>
                  <a:pt x="356" y="567"/>
                </a:lnTo>
                <a:lnTo>
                  <a:pt x="366" y="565"/>
                </a:lnTo>
                <a:lnTo>
                  <a:pt x="374" y="563"/>
                </a:lnTo>
                <a:lnTo>
                  <a:pt x="380" y="559"/>
                </a:lnTo>
                <a:lnTo>
                  <a:pt x="386" y="553"/>
                </a:lnTo>
                <a:lnTo>
                  <a:pt x="392" y="545"/>
                </a:lnTo>
                <a:lnTo>
                  <a:pt x="394" y="537"/>
                </a:lnTo>
                <a:lnTo>
                  <a:pt x="396" y="529"/>
                </a:lnTo>
                <a:lnTo>
                  <a:pt x="396" y="527"/>
                </a:lnTo>
                <a:lnTo>
                  <a:pt x="422" y="36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77">
            <a:extLst>
              <a:ext uri="{FF2B5EF4-FFF2-40B4-BE49-F238E27FC236}">
                <a16:creationId xmlns:a16="http://schemas.microsoft.com/office/drawing/2014/main" id="{E8C6DB63-2196-4628-9B19-F3294F4703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411579" y="2516246"/>
            <a:ext cx="390525" cy="469900"/>
          </a:xfrm>
          <a:custGeom>
            <a:avLst/>
            <a:gdLst>
              <a:gd name="T0" fmla="*/ 494 w 494"/>
              <a:gd name="T1" fmla="*/ 521 h 593"/>
              <a:gd name="T2" fmla="*/ 486 w 494"/>
              <a:gd name="T3" fmla="*/ 531 h 593"/>
              <a:gd name="T4" fmla="*/ 478 w 494"/>
              <a:gd name="T5" fmla="*/ 531 h 593"/>
              <a:gd name="T6" fmla="*/ 470 w 494"/>
              <a:gd name="T7" fmla="*/ 521 h 593"/>
              <a:gd name="T8" fmla="*/ 470 w 494"/>
              <a:gd name="T9" fmla="*/ 448 h 593"/>
              <a:gd name="T10" fmla="*/ 458 w 494"/>
              <a:gd name="T11" fmla="*/ 428 h 593"/>
              <a:gd name="T12" fmla="*/ 412 w 494"/>
              <a:gd name="T13" fmla="*/ 394 h 593"/>
              <a:gd name="T14" fmla="*/ 322 w 494"/>
              <a:gd name="T15" fmla="*/ 342 h 593"/>
              <a:gd name="T16" fmla="*/ 316 w 494"/>
              <a:gd name="T17" fmla="*/ 336 h 593"/>
              <a:gd name="T18" fmla="*/ 312 w 494"/>
              <a:gd name="T19" fmla="*/ 234 h 593"/>
              <a:gd name="T20" fmla="*/ 318 w 494"/>
              <a:gd name="T21" fmla="*/ 224 h 593"/>
              <a:gd name="T22" fmla="*/ 328 w 494"/>
              <a:gd name="T23" fmla="*/ 212 h 593"/>
              <a:gd name="T24" fmla="*/ 332 w 494"/>
              <a:gd name="T25" fmla="*/ 100 h 593"/>
              <a:gd name="T26" fmla="*/ 326 w 494"/>
              <a:gd name="T27" fmla="*/ 70 h 593"/>
              <a:gd name="T28" fmla="*/ 300 w 494"/>
              <a:gd name="T29" fmla="*/ 38 h 593"/>
              <a:gd name="T30" fmla="*/ 256 w 494"/>
              <a:gd name="T31" fmla="*/ 24 h 593"/>
              <a:gd name="T32" fmla="*/ 222 w 494"/>
              <a:gd name="T33" fmla="*/ 26 h 593"/>
              <a:gd name="T34" fmla="*/ 184 w 494"/>
              <a:gd name="T35" fmla="*/ 46 h 593"/>
              <a:gd name="T36" fmla="*/ 162 w 494"/>
              <a:gd name="T37" fmla="*/ 84 h 593"/>
              <a:gd name="T38" fmla="*/ 160 w 494"/>
              <a:gd name="T39" fmla="*/ 196 h 593"/>
              <a:gd name="T40" fmla="*/ 170 w 494"/>
              <a:gd name="T41" fmla="*/ 218 h 593"/>
              <a:gd name="T42" fmla="*/ 180 w 494"/>
              <a:gd name="T43" fmla="*/ 228 h 593"/>
              <a:gd name="T44" fmla="*/ 180 w 494"/>
              <a:gd name="T45" fmla="*/ 326 h 593"/>
              <a:gd name="T46" fmla="*/ 176 w 494"/>
              <a:gd name="T47" fmla="*/ 338 h 593"/>
              <a:gd name="T48" fmla="*/ 154 w 494"/>
              <a:gd name="T49" fmla="*/ 350 h 593"/>
              <a:gd name="T50" fmla="*/ 58 w 494"/>
              <a:gd name="T51" fmla="*/ 410 h 593"/>
              <a:gd name="T52" fmla="*/ 30 w 494"/>
              <a:gd name="T53" fmla="*/ 434 h 593"/>
              <a:gd name="T54" fmla="*/ 24 w 494"/>
              <a:gd name="T55" fmla="*/ 454 h 593"/>
              <a:gd name="T56" fmla="*/ 22 w 494"/>
              <a:gd name="T57" fmla="*/ 525 h 593"/>
              <a:gd name="T58" fmla="*/ 12 w 494"/>
              <a:gd name="T59" fmla="*/ 533 h 593"/>
              <a:gd name="T60" fmla="*/ 2 w 494"/>
              <a:gd name="T61" fmla="*/ 529 h 593"/>
              <a:gd name="T62" fmla="*/ 0 w 494"/>
              <a:gd name="T63" fmla="*/ 454 h 593"/>
              <a:gd name="T64" fmla="*/ 4 w 494"/>
              <a:gd name="T65" fmla="*/ 430 h 593"/>
              <a:gd name="T66" fmla="*/ 20 w 494"/>
              <a:gd name="T67" fmla="*/ 410 h 593"/>
              <a:gd name="T68" fmla="*/ 134 w 494"/>
              <a:gd name="T69" fmla="*/ 334 h 593"/>
              <a:gd name="T70" fmla="*/ 156 w 494"/>
              <a:gd name="T71" fmla="*/ 238 h 593"/>
              <a:gd name="T72" fmla="*/ 138 w 494"/>
              <a:gd name="T73" fmla="*/ 208 h 593"/>
              <a:gd name="T74" fmla="*/ 136 w 494"/>
              <a:gd name="T75" fmla="*/ 100 h 593"/>
              <a:gd name="T76" fmla="*/ 154 w 494"/>
              <a:gd name="T77" fmla="*/ 44 h 593"/>
              <a:gd name="T78" fmla="*/ 198 w 494"/>
              <a:gd name="T79" fmla="*/ 8 h 593"/>
              <a:gd name="T80" fmla="*/ 256 w 494"/>
              <a:gd name="T81" fmla="*/ 0 h 593"/>
              <a:gd name="T82" fmla="*/ 296 w 494"/>
              <a:gd name="T83" fmla="*/ 8 h 593"/>
              <a:gd name="T84" fmla="*/ 340 w 494"/>
              <a:gd name="T85" fmla="*/ 44 h 593"/>
              <a:gd name="T86" fmla="*/ 356 w 494"/>
              <a:gd name="T87" fmla="*/ 100 h 593"/>
              <a:gd name="T88" fmla="*/ 354 w 494"/>
              <a:gd name="T89" fmla="*/ 208 h 593"/>
              <a:gd name="T90" fmla="*/ 336 w 494"/>
              <a:gd name="T91" fmla="*/ 238 h 593"/>
              <a:gd name="T92" fmla="*/ 358 w 494"/>
              <a:gd name="T93" fmla="*/ 334 h 593"/>
              <a:gd name="T94" fmla="*/ 472 w 494"/>
              <a:gd name="T95" fmla="*/ 410 h 593"/>
              <a:gd name="T96" fmla="*/ 488 w 494"/>
              <a:gd name="T97" fmla="*/ 430 h 593"/>
              <a:gd name="T98" fmla="*/ 494 w 494"/>
              <a:gd name="T99" fmla="*/ 454 h 593"/>
              <a:gd name="T100" fmla="*/ 176 w 494"/>
              <a:gd name="T101" fmla="*/ 525 h 593"/>
              <a:gd name="T102" fmla="*/ 168 w 494"/>
              <a:gd name="T103" fmla="*/ 523 h 593"/>
              <a:gd name="T104" fmla="*/ 160 w 494"/>
              <a:gd name="T105" fmla="*/ 525 h 593"/>
              <a:gd name="T106" fmla="*/ 158 w 494"/>
              <a:gd name="T107" fmla="*/ 539 h 593"/>
              <a:gd name="T108" fmla="*/ 206 w 494"/>
              <a:gd name="T109" fmla="*/ 589 h 593"/>
              <a:gd name="T110" fmla="*/ 214 w 494"/>
              <a:gd name="T111" fmla="*/ 593 h 593"/>
              <a:gd name="T112" fmla="*/ 334 w 494"/>
              <a:gd name="T113" fmla="*/ 479 h 593"/>
              <a:gd name="T114" fmla="*/ 336 w 494"/>
              <a:gd name="T115" fmla="*/ 471 h 593"/>
              <a:gd name="T116" fmla="*/ 334 w 494"/>
              <a:gd name="T117" fmla="*/ 463 h 593"/>
              <a:gd name="T118" fmla="*/ 320 w 494"/>
              <a:gd name="T119" fmla="*/ 459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94" h="593">
                <a:moveTo>
                  <a:pt x="494" y="454"/>
                </a:moveTo>
                <a:lnTo>
                  <a:pt x="494" y="521"/>
                </a:lnTo>
                <a:lnTo>
                  <a:pt x="494" y="521"/>
                </a:lnTo>
                <a:lnTo>
                  <a:pt x="492" y="525"/>
                </a:lnTo>
                <a:lnTo>
                  <a:pt x="490" y="529"/>
                </a:lnTo>
                <a:lnTo>
                  <a:pt x="486" y="531"/>
                </a:lnTo>
                <a:lnTo>
                  <a:pt x="482" y="533"/>
                </a:lnTo>
                <a:lnTo>
                  <a:pt x="482" y="533"/>
                </a:lnTo>
                <a:lnTo>
                  <a:pt x="478" y="531"/>
                </a:lnTo>
                <a:lnTo>
                  <a:pt x="474" y="529"/>
                </a:lnTo>
                <a:lnTo>
                  <a:pt x="470" y="525"/>
                </a:lnTo>
                <a:lnTo>
                  <a:pt x="470" y="521"/>
                </a:lnTo>
                <a:lnTo>
                  <a:pt x="470" y="454"/>
                </a:lnTo>
                <a:lnTo>
                  <a:pt x="470" y="454"/>
                </a:lnTo>
                <a:lnTo>
                  <a:pt x="470" y="448"/>
                </a:lnTo>
                <a:lnTo>
                  <a:pt x="466" y="440"/>
                </a:lnTo>
                <a:lnTo>
                  <a:pt x="462" y="434"/>
                </a:lnTo>
                <a:lnTo>
                  <a:pt x="458" y="428"/>
                </a:lnTo>
                <a:lnTo>
                  <a:pt x="458" y="428"/>
                </a:lnTo>
                <a:lnTo>
                  <a:pt x="434" y="410"/>
                </a:lnTo>
                <a:lnTo>
                  <a:pt x="412" y="394"/>
                </a:lnTo>
                <a:lnTo>
                  <a:pt x="372" y="368"/>
                </a:lnTo>
                <a:lnTo>
                  <a:pt x="340" y="350"/>
                </a:lnTo>
                <a:lnTo>
                  <a:pt x="322" y="342"/>
                </a:lnTo>
                <a:lnTo>
                  <a:pt x="322" y="342"/>
                </a:lnTo>
                <a:lnTo>
                  <a:pt x="318" y="338"/>
                </a:lnTo>
                <a:lnTo>
                  <a:pt x="316" y="336"/>
                </a:lnTo>
                <a:lnTo>
                  <a:pt x="314" y="330"/>
                </a:lnTo>
                <a:lnTo>
                  <a:pt x="312" y="326"/>
                </a:lnTo>
                <a:lnTo>
                  <a:pt x="312" y="234"/>
                </a:lnTo>
                <a:lnTo>
                  <a:pt x="312" y="234"/>
                </a:lnTo>
                <a:lnTo>
                  <a:pt x="314" y="228"/>
                </a:lnTo>
                <a:lnTo>
                  <a:pt x="318" y="224"/>
                </a:lnTo>
                <a:lnTo>
                  <a:pt x="318" y="224"/>
                </a:lnTo>
                <a:lnTo>
                  <a:pt x="324" y="218"/>
                </a:lnTo>
                <a:lnTo>
                  <a:pt x="328" y="212"/>
                </a:lnTo>
                <a:lnTo>
                  <a:pt x="332" y="204"/>
                </a:lnTo>
                <a:lnTo>
                  <a:pt x="332" y="196"/>
                </a:lnTo>
                <a:lnTo>
                  <a:pt x="332" y="100"/>
                </a:lnTo>
                <a:lnTo>
                  <a:pt x="332" y="100"/>
                </a:lnTo>
                <a:lnTo>
                  <a:pt x="330" y="84"/>
                </a:lnTo>
                <a:lnTo>
                  <a:pt x="326" y="70"/>
                </a:lnTo>
                <a:lnTo>
                  <a:pt x="320" y="58"/>
                </a:lnTo>
                <a:lnTo>
                  <a:pt x="310" y="46"/>
                </a:lnTo>
                <a:lnTo>
                  <a:pt x="300" y="38"/>
                </a:lnTo>
                <a:lnTo>
                  <a:pt x="286" y="30"/>
                </a:lnTo>
                <a:lnTo>
                  <a:pt x="272" y="26"/>
                </a:lnTo>
                <a:lnTo>
                  <a:pt x="256" y="24"/>
                </a:lnTo>
                <a:lnTo>
                  <a:pt x="236" y="24"/>
                </a:lnTo>
                <a:lnTo>
                  <a:pt x="236" y="24"/>
                </a:lnTo>
                <a:lnTo>
                  <a:pt x="222" y="26"/>
                </a:lnTo>
                <a:lnTo>
                  <a:pt x="206" y="30"/>
                </a:lnTo>
                <a:lnTo>
                  <a:pt x="194" y="38"/>
                </a:lnTo>
                <a:lnTo>
                  <a:pt x="184" y="46"/>
                </a:lnTo>
                <a:lnTo>
                  <a:pt x="174" y="58"/>
                </a:lnTo>
                <a:lnTo>
                  <a:pt x="166" y="70"/>
                </a:lnTo>
                <a:lnTo>
                  <a:pt x="162" y="84"/>
                </a:lnTo>
                <a:lnTo>
                  <a:pt x="160" y="100"/>
                </a:lnTo>
                <a:lnTo>
                  <a:pt x="160" y="196"/>
                </a:lnTo>
                <a:lnTo>
                  <a:pt x="160" y="196"/>
                </a:lnTo>
                <a:lnTo>
                  <a:pt x="162" y="204"/>
                </a:lnTo>
                <a:lnTo>
                  <a:pt x="164" y="212"/>
                </a:lnTo>
                <a:lnTo>
                  <a:pt x="170" y="218"/>
                </a:lnTo>
                <a:lnTo>
                  <a:pt x="176" y="224"/>
                </a:lnTo>
                <a:lnTo>
                  <a:pt x="176" y="224"/>
                </a:lnTo>
                <a:lnTo>
                  <a:pt x="180" y="228"/>
                </a:lnTo>
                <a:lnTo>
                  <a:pt x="180" y="234"/>
                </a:lnTo>
                <a:lnTo>
                  <a:pt x="180" y="326"/>
                </a:lnTo>
                <a:lnTo>
                  <a:pt x="180" y="326"/>
                </a:lnTo>
                <a:lnTo>
                  <a:pt x="180" y="330"/>
                </a:lnTo>
                <a:lnTo>
                  <a:pt x="178" y="336"/>
                </a:lnTo>
                <a:lnTo>
                  <a:pt x="176" y="338"/>
                </a:lnTo>
                <a:lnTo>
                  <a:pt x="172" y="342"/>
                </a:lnTo>
                <a:lnTo>
                  <a:pt x="172" y="342"/>
                </a:lnTo>
                <a:lnTo>
                  <a:pt x="154" y="350"/>
                </a:lnTo>
                <a:lnTo>
                  <a:pt x="122" y="368"/>
                </a:lnTo>
                <a:lnTo>
                  <a:pt x="80" y="394"/>
                </a:lnTo>
                <a:lnTo>
                  <a:pt x="58" y="410"/>
                </a:lnTo>
                <a:lnTo>
                  <a:pt x="36" y="428"/>
                </a:lnTo>
                <a:lnTo>
                  <a:pt x="36" y="428"/>
                </a:lnTo>
                <a:lnTo>
                  <a:pt x="30" y="434"/>
                </a:lnTo>
                <a:lnTo>
                  <a:pt x="26" y="440"/>
                </a:lnTo>
                <a:lnTo>
                  <a:pt x="24" y="448"/>
                </a:lnTo>
                <a:lnTo>
                  <a:pt x="24" y="454"/>
                </a:lnTo>
                <a:lnTo>
                  <a:pt x="24" y="521"/>
                </a:lnTo>
                <a:lnTo>
                  <a:pt x="24" y="521"/>
                </a:lnTo>
                <a:lnTo>
                  <a:pt x="22" y="525"/>
                </a:lnTo>
                <a:lnTo>
                  <a:pt x="20" y="529"/>
                </a:lnTo>
                <a:lnTo>
                  <a:pt x="16" y="531"/>
                </a:lnTo>
                <a:lnTo>
                  <a:pt x="12" y="533"/>
                </a:lnTo>
                <a:lnTo>
                  <a:pt x="12" y="533"/>
                </a:lnTo>
                <a:lnTo>
                  <a:pt x="6" y="531"/>
                </a:lnTo>
                <a:lnTo>
                  <a:pt x="2" y="529"/>
                </a:lnTo>
                <a:lnTo>
                  <a:pt x="0" y="525"/>
                </a:lnTo>
                <a:lnTo>
                  <a:pt x="0" y="521"/>
                </a:lnTo>
                <a:lnTo>
                  <a:pt x="0" y="454"/>
                </a:lnTo>
                <a:lnTo>
                  <a:pt x="0" y="454"/>
                </a:lnTo>
                <a:lnTo>
                  <a:pt x="0" y="442"/>
                </a:lnTo>
                <a:lnTo>
                  <a:pt x="4" y="430"/>
                </a:lnTo>
                <a:lnTo>
                  <a:pt x="12" y="418"/>
                </a:lnTo>
                <a:lnTo>
                  <a:pt x="20" y="410"/>
                </a:lnTo>
                <a:lnTo>
                  <a:pt x="20" y="410"/>
                </a:lnTo>
                <a:lnTo>
                  <a:pt x="62" y="378"/>
                </a:lnTo>
                <a:lnTo>
                  <a:pt x="102" y="352"/>
                </a:lnTo>
                <a:lnTo>
                  <a:pt x="134" y="334"/>
                </a:lnTo>
                <a:lnTo>
                  <a:pt x="156" y="322"/>
                </a:lnTo>
                <a:lnTo>
                  <a:pt x="156" y="238"/>
                </a:lnTo>
                <a:lnTo>
                  <a:pt x="156" y="238"/>
                </a:lnTo>
                <a:lnTo>
                  <a:pt x="148" y="230"/>
                </a:lnTo>
                <a:lnTo>
                  <a:pt x="142" y="220"/>
                </a:lnTo>
                <a:lnTo>
                  <a:pt x="138" y="208"/>
                </a:lnTo>
                <a:lnTo>
                  <a:pt x="136" y="196"/>
                </a:lnTo>
                <a:lnTo>
                  <a:pt x="136" y="100"/>
                </a:lnTo>
                <a:lnTo>
                  <a:pt x="136" y="100"/>
                </a:lnTo>
                <a:lnTo>
                  <a:pt x="138" y="80"/>
                </a:lnTo>
                <a:lnTo>
                  <a:pt x="144" y="62"/>
                </a:lnTo>
                <a:lnTo>
                  <a:pt x="154" y="44"/>
                </a:lnTo>
                <a:lnTo>
                  <a:pt x="166" y="30"/>
                </a:lnTo>
                <a:lnTo>
                  <a:pt x="180" y="18"/>
                </a:lnTo>
                <a:lnTo>
                  <a:pt x="198" y="8"/>
                </a:lnTo>
                <a:lnTo>
                  <a:pt x="216" y="2"/>
                </a:lnTo>
                <a:lnTo>
                  <a:pt x="236" y="0"/>
                </a:lnTo>
                <a:lnTo>
                  <a:pt x="256" y="0"/>
                </a:lnTo>
                <a:lnTo>
                  <a:pt x="256" y="0"/>
                </a:lnTo>
                <a:lnTo>
                  <a:pt x="276" y="2"/>
                </a:lnTo>
                <a:lnTo>
                  <a:pt x="296" y="8"/>
                </a:lnTo>
                <a:lnTo>
                  <a:pt x="312" y="18"/>
                </a:lnTo>
                <a:lnTo>
                  <a:pt x="328" y="30"/>
                </a:lnTo>
                <a:lnTo>
                  <a:pt x="340" y="44"/>
                </a:lnTo>
                <a:lnTo>
                  <a:pt x="348" y="62"/>
                </a:lnTo>
                <a:lnTo>
                  <a:pt x="354" y="80"/>
                </a:lnTo>
                <a:lnTo>
                  <a:pt x="356" y="100"/>
                </a:lnTo>
                <a:lnTo>
                  <a:pt x="356" y="196"/>
                </a:lnTo>
                <a:lnTo>
                  <a:pt x="356" y="196"/>
                </a:lnTo>
                <a:lnTo>
                  <a:pt x="354" y="208"/>
                </a:lnTo>
                <a:lnTo>
                  <a:pt x="352" y="220"/>
                </a:lnTo>
                <a:lnTo>
                  <a:pt x="344" y="230"/>
                </a:lnTo>
                <a:lnTo>
                  <a:pt x="336" y="238"/>
                </a:lnTo>
                <a:lnTo>
                  <a:pt x="336" y="322"/>
                </a:lnTo>
                <a:lnTo>
                  <a:pt x="336" y="322"/>
                </a:lnTo>
                <a:lnTo>
                  <a:pt x="358" y="334"/>
                </a:lnTo>
                <a:lnTo>
                  <a:pt x="390" y="352"/>
                </a:lnTo>
                <a:lnTo>
                  <a:pt x="430" y="378"/>
                </a:lnTo>
                <a:lnTo>
                  <a:pt x="472" y="410"/>
                </a:lnTo>
                <a:lnTo>
                  <a:pt x="472" y="410"/>
                </a:lnTo>
                <a:lnTo>
                  <a:pt x="482" y="418"/>
                </a:lnTo>
                <a:lnTo>
                  <a:pt x="488" y="430"/>
                </a:lnTo>
                <a:lnTo>
                  <a:pt x="492" y="442"/>
                </a:lnTo>
                <a:lnTo>
                  <a:pt x="494" y="454"/>
                </a:lnTo>
                <a:lnTo>
                  <a:pt x="494" y="454"/>
                </a:lnTo>
                <a:close/>
                <a:moveTo>
                  <a:pt x="316" y="463"/>
                </a:moveTo>
                <a:lnTo>
                  <a:pt x="214" y="565"/>
                </a:lnTo>
                <a:lnTo>
                  <a:pt x="176" y="525"/>
                </a:lnTo>
                <a:lnTo>
                  <a:pt x="176" y="525"/>
                </a:lnTo>
                <a:lnTo>
                  <a:pt x="172" y="523"/>
                </a:lnTo>
                <a:lnTo>
                  <a:pt x="168" y="523"/>
                </a:lnTo>
                <a:lnTo>
                  <a:pt x="164" y="523"/>
                </a:lnTo>
                <a:lnTo>
                  <a:pt x="160" y="525"/>
                </a:lnTo>
                <a:lnTo>
                  <a:pt x="160" y="525"/>
                </a:lnTo>
                <a:lnTo>
                  <a:pt x="158" y="529"/>
                </a:lnTo>
                <a:lnTo>
                  <a:pt x="156" y="535"/>
                </a:lnTo>
                <a:lnTo>
                  <a:pt x="158" y="539"/>
                </a:lnTo>
                <a:lnTo>
                  <a:pt x="160" y="543"/>
                </a:lnTo>
                <a:lnTo>
                  <a:pt x="206" y="589"/>
                </a:lnTo>
                <a:lnTo>
                  <a:pt x="206" y="589"/>
                </a:lnTo>
                <a:lnTo>
                  <a:pt x="210" y="593"/>
                </a:lnTo>
                <a:lnTo>
                  <a:pt x="214" y="593"/>
                </a:lnTo>
                <a:lnTo>
                  <a:pt x="214" y="593"/>
                </a:lnTo>
                <a:lnTo>
                  <a:pt x="220" y="593"/>
                </a:lnTo>
                <a:lnTo>
                  <a:pt x="224" y="589"/>
                </a:lnTo>
                <a:lnTo>
                  <a:pt x="334" y="479"/>
                </a:lnTo>
                <a:lnTo>
                  <a:pt x="334" y="479"/>
                </a:lnTo>
                <a:lnTo>
                  <a:pt x="336" y="475"/>
                </a:lnTo>
                <a:lnTo>
                  <a:pt x="336" y="471"/>
                </a:lnTo>
                <a:lnTo>
                  <a:pt x="336" y="467"/>
                </a:lnTo>
                <a:lnTo>
                  <a:pt x="334" y="463"/>
                </a:lnTo>
                <a:lnTo>
                  <a:pt x="334" y="463"/>
                </a:lnTo>
                <a:lnTo>
                  <a:pt x="330" y="459"/>
                </a:lnTo>
                <a:lnTo>
                  <a:pt x="324" y="459"/>
                </a:lnTo>
                <a:lnTo>
                  <a:pt x="320" y="459"/>
                </a:lnTo>
                <a:lnTo>
                  <a:pt x="316" y="463"/>
                </a:lnTo>
                <a:lnTo>
                  <a:pt x="316" y="46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222">
            <a:extLst>
              <a:ext uri="{FF2B5EF4-FFF2-40B4-BE49-F238E27FC236}">
                <a16:creationId xmlns:a16="http://schemas.microsoft.com/office/drawing/2014/main" id="{59601327-9DA8-4967-90A2-5D0FE1BF244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866606" y="2521802"/>
            <a:ext cx="458787" cy="458788"/>
          </a:xfrm>
          <a:custGeom>
            <a:avLst/>
            <a:gdLst>
              <a:gd name="T0" fmla="*/ 246 w 289"/>
              <a:gd name="T1" fmla="*/ 42 h 289"/>
              <a:gd name="T2" fmla="*/ 130 w 289"/>
              <a:gd name="T3" fmla="*/ 1 h 289"/>
              <a:gd name="T4" fmla="*/ 17 w 289"/>
              <a:gd name="T5" fmla="*/ 76 h 289"/>
              <a:gd name="T6" fmla="*/ 12 w 289"/>
              <a:gd name="T7" fmla="*/ 202 h 289"/>
              <a:gd name="T8" fmla="*/ 73 w 289"/>
              <a:gd name="T9" fmla="*/ 270 h 289"/>
              <a:gd name="T10" fmla="*/ 93 w 289"/>
              <a:gd name="T11" fmla="*/ 280 h 289"/>
              <a:gd name="T12" fmla="*/ 110 w 289"/>
              <a:gd name="T13" fmla="*/ 285 h 289"/>
              <a:gd name="T14" fmla="*/ 128 w 289"/>
              <a:gd name="T15" fmla="*/ 288 h 289"/>
              <a:gd name="T16" fmla="*/ 152 w 289"/>
              <a:gd name="T17" fmla="*/ 289 h 289"/>
              <a:gd name="T18" fmla="*/ 169 w 289"/>
              <a:gd name="T19" fmla="*/ 287 h 289"/>
              <a:gd name="T20" fmla="*/ 185 w 289"/>
              <a:gd name="T21" fmla="*/ 283 h 289"/>
              <a:gd name="T22" fmla="*/ 201 w 289"/>
              <a:gd name="T23" fmla="*/ 277 h 289"/>
              <a:gd name="T24" fmla="*/ 244 w 289"/>
              <a:gd name="T25" fmla="*/ 249 h 289"/>
              <a:gd name="T26" fmla="*/ 289 w 289"/>
              <a:gd name="T27" fmla="*/ 144 h 289"/>
              <a:gd name="T28" fmla="*/ 210 w 289"/>
              <a:gd name="T29" fmla="*/ 263 h 289"/>
              <a:gd name="T30" fmla="*/ 168 w 289"/>
              <a:gd name="T31" fmla="*/ 277 h 289"/>
              <a:gd name="T32" fmla="*/ 134 w 289"/>
              <a:gd name="T33" fmla="*/ 279 h 289"/>
              <a:gd name="T34" fmla="*/ 110 w 289"/>
              <a:gd name="T35" fmla="*/ 275 h 289"/>
              <a:gd name="T36" fmla="*/ 79 w 289"/>
              <a:gd name="T37" fmla="*/ 263 h 289"/>
              <a:gd name="T38" fmla="*/ 59 w 289"/>
              <a:gd name="T39" fmla="*/ 249 h 289"/>
              <a:gd name="T40" fmla="*/ 156 w 289"/>
              <a:gd name="T41" fmla="*/ 222 h 289"/>
              <a:gd name="T42" fmla="*/ 228 w 289"/>
              <a:gd name="T43" fmla="*/ 251 h 289"/>
              <a:gd name="T44" fmla="*/ 145 w 289"/>
              <a:gd name="T45" fmla="*/ 212 h 289"/>
              <a:gd name="T46" fmla="*/ 52 w 289"/>
              <a:gd name="T47" fmla="*/ 243 h 289"/>
              <a:gd name="T48" fmla="*/ 10 w 289"/>
              <a:gd name="T49" fmla="*/ 130 h 289"/>
              <a:gd name="T50" fmla="*/ 80 w 289"/>
              <a:gd name="T51" fmla="*/ 26 h 289"/>
              <a:gd name="T52" fmla="*/ 197 w 289"/>
              <a:gd name="T53" fmla="*/ 20 h 289"/>
              <a:gd name="T54" fmla="*/ 276 w 289"/>
              <a:gd name="T55" fmla="*/ 117 h 289"/>
              <a:gd name="T56" fmla="*/ 246 w 289"/>
              <a:gd name="T57" fmla="*/ 233 h 289"/>
              <a:gd name="T58" fmla="*/ 145 w 289"/>
              <a:gd name="T59" fmla="*/ 19 h 289"/>
              <a:gd name="T60" fmla="*/ 145 w 289"/>
              <a:gd name="T61" fmla="*/ 39 h 289"/>
              <a:gd name="T62" fmla="*/ 270 w 289"/>
              <a:gd name="T63" fmla="*/ 147 h 289"/>
              <a:gd name="T64" fmla="*/ 253 w 289"/>
              <a:gd name="T65" fmla="*/ 142 h 289"/>
              <a:gd name="T66" fmla="*/ 272 w 289"/>
              <a:gd name="T67" fmla="*/ 144 h 289"/>
              <a:gd name="T68" fmla="*/ 18 w 289"/>
              <a:gd name="T69" fmla="*/ 141 h 289"/>
              <a:gd name="T70" fmla="*/ 36 w 289"/>
              <a:gd name="T71" fmla="*/ 146 h 289"/>
              <a:gd name="T72" fmla="*/ 201 w 289"/>
              <a:gd name="T73" fmla="*/ 54 h 289"/>
              <a:gd name="T74" fmla="*/ 205 w 289"/>
              <a:gd name="T75" fmla="*/ 36 h 289"/>
              <a:gd name="T76" fmla="*/ 255 w 289"/>
              <a:gd name="T77" fmla="*/ 211 h 289"/>
              <a:gd name="T78" fmla="*/ 238 w 289"/>
              <a:gd name="T79" fmla="*/ 201 h 289"/>
              <a:gd name="T80" fmla="*/ 255 w 289"/>
              <a:gd name="T81" fmla="*/ 209 h 289"/>
              <a:gd name="T82" fmla="*/ 36 w 289"/>
              <a:gd name="T83" fmla="*/ 90 h 289"/>
              <a:gd name="T84" fmla="*/ 49 w 289"/>
              <a:gd name="T85" fmla="*/ 86 h 289"/>
              <a:gd name="T86" fmla="*/ 92 w 289"/>
              <a:gd name="T87" fmla="*/ 50 h 289"/>
              <a:gd name="T88" fmla="*/ 78 w 289"/>
              <a:gd name="T89" fmla="*/ 41 h 289"/>
              <a:gd name="T90" fmla="*/ 237 w 289"/>
              <a:gd name="T91" fmla="*/ 90 h 289"/>
              <a:gd name="T92" fmla="*/ 252 w 289"/>
              <a:gd name="T93" fmla="*/ 79 h 289"/>
              <a:gd name="T94" fmla="*/ 241 w 289"/>
              <a:gd name="T95" fmla="*/ 93 h 289"/>
              <a:gd name="T96" fmla="*/ 39 w 289"/>
              <a:gd name="T97" fmla="*/ 210 h 289"/>
              <a:gd name="T98" fmla="*/ 34 w 289"/>
              <a:gd name="T99" fmla="*/ 202 h 289"/>
              <a:gd name="T100" fmla="*/ 155 w 289"/>
              <a:gd name="T101" fmla="*/ 123 h 289"/>
              <a:gd name="T102" fmla="*/ 126 w 289"/>
              <a:gd name="T103" fmla="*/ 139 h 289"/>
              <a:gd name="T104" fmla="*/ 145 w 289"/>
              <a:gd name="T105" fmla="*/ 158 h 289"/>
              <a:gd name="T106" fmla="*/ 164 w 289"/>
              <a:gd name="T107" fmla="*/ 139 h 289"/>
              <a:gd name="T108" fmla="*/ 202 w 289"/>
              <a:gd name="T109" fmla="*/ 83 h 289"/>
              <a:gd name="T110" fmla="*/ 141 w 289"/>
              <a:gd name="T111" fmla="*/ 148 h 289"/>
              <a:gd name="T112" fmla="*/ 145 w 289"/>
              <a:gd name="T113" fmla="*/ 129 h 289"/>
              <a:gd name="T114" fmla="*/ 152 w 289"/>
              <a:gd name="T115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9" h="289">
                <a:moveTo>
                  <a:pt x="289" y="144"/>
                </a:moveTo>
                <a:lnTo>
                  <a:pt x="289" y="144"/>
                </a:lnTo>
                <a:lnTo>
                  <a:pt x="288" y="129"/>
                </a:lnTo>
                <a:lnTo>
                  <a:pt x="286" y="115"/>
                </a:lnTo>
                <a:lnTo>
                  <a:pt x="282" y="101"/>
                </a:lnTo>
                <a:lnTo>
                  <a:pt x="277" y="88"/>
                </a:lnTo>
                <a:lnTo>
                  <a:pt x="271" y="76"/>
                </a:lnTo>
                <a:lnTo>
                  <a:pt x="264" y="64"/>
                </a:lnTo>
                <a:lnTo>
                  <a:pt x="256" y="53"/>
                </a:lnTo>
                <a:lnTo>
                  <a:pt x="246" y="42"/>
                </a:lnTo>
                <a:lnTo>
                  <a:pt x="236" y="33"/>
                </a:lnTo>
                <a:lnTo>
                  <a:pt x="225" y="25"/>
                </a:lnTo>
                <a:lnTo>
                  <a:pt x="213" y="18"/>
                </a:lnTo>
                <a:lnTo>
                  <a:pt x="201" y="12"/>
                </a:lnTo>
                <a:lnTo>
                  <a:pt x="188" y="7"/>
                </a:lnTo>
                <a:lnTo>
                  <a:pt x="174" y="3"/>
                </a:lnTo>
                <a:lnTo>
                  <a:pt x="159" y="1"/>
                </a:lnTo>
                <a:lnTo>
                  <a:pt x="145" y="0"/>
                </a:lnTo>
                <a:lnTo>
                  <a:pt x="145" y="0"/>
                </a:lnTo>
                <a:lnTo>
                  <a:pt x="130" y="1"/>
                </a:lnTo>
                <a:lnTo>
                  <a:pt x="116" y="3"/>
                </a:lnTo>
                <a:lnTo>
                  <a:pt x="101" y="7"/>
                </a:lnTo>
                <a:lnTo>
                  <a:pt x="88" y="12"/>
                </a:lnTo>
                <a:lnTo>
                  <a:pt x="75" y="18"/>
                </a:lnTo>
                <a:lnTo>
                  <a:pt x="63" y="25"/>
                </a:lnTo>
                <a:lnTo>
                  <a:pt x="52" y="33"/>
                </a:lnTo>
                <a:lnTo>
                  <a:pt x="42" y="42"/>
                </a:lnTo>
                <a:lnTo>
                  <a:pt x="33" y="53"/>
                </a:lnTo>
                <a:lnTo>
                  <a:pt x="25" y="64"/>
                </a:lnTo>
                <a:lnTo>
                  <a:pt x="17" y="76"/>
                </a:lnTo>
                <a:lnTo>
                  <a:pt x="11" y="88"/>
                </a:lnTo>
                <a:lnTo>
                  <a:pt x="6" y="101"/>
                </a:lnTo>
                <a:lnTo>
                  <a:pt x="3" y="115"/>
                </a:lnTo>
                <a:lnTo>
                  <a:pt x="1" y="129"/>
                </a:lnTo>
                <a:lnTo>
                  <a:pt x="0" y="144"/>
                </a:lnTo>
                <a:lnTo>
                  <a:pt x="0" y="144"/>
                </a:lnTo>
                <a:lnTo>
                  <a:pt x="1" y="159"/>
                </a:lnTo>
                <a:lnTo>
                  <a:pt x="3" y="174"/>
                </a:lnTo>
                <a:lnTo>
                  <a:pt x="7" y="189"/>
                </a:lnTo>
                <a:lnTo>
                  <a:pt x="12" y="202"/>
                </a:lnTo>
                <a:lnTo>
                  <a:pt x="18" y="215"/>
                </a:lnTo>
                <a:lnTo>
                  <a:pt x="26" y="227"/>
                </a:lnTo>
                <a:lnTo>
                  <a:pt x="35" y="238"/>
                </a:lnTo>
                <a:lnTo>
                  <a:pt x="44" y="249"/>
                </a:lnTo>
                <a:lnTo>
                  <a:pt x="44" y="249"/>
                </a:lnTo>
                <a:lnTo>
                  <a:pt x="48" y="253"/>
                </a:lnTo>
                <a:lnTo>
                  <a:pt x="48" y="253"/>
                </a:lnTo>
                <a:lnTo>
                  <a:pt x="56" y="259"/>
                </a:lnTo>
                <a:lnTo>
                  <a:pt x="64" y="265"/>
                </a:lnTo>
                <a:lnTo>
                  <a:pt x="73" y="270"/>
                </a:lnTo>
                <a:lnTo>
                  <a:pt x="81" y="275"/>
                </a:lnTo>
                <a:lnTo>
                  <a:pt x="81" y="275"/>
                </a:lnTo>
                <a:lnTo>
                  <a:pt x="83" y="275"/>
                </a:lnTo>
                <a:lnTo>
                  <a:pt x="83" y="275"/>
                </a:lnTo>
                <a:lnTo>
                  <a:pt x="87" y="277"/>
                </a:lnTo>
                <a:lnTo>
                  <a:pt x="87" y="277"/>
                </a:lnTo>
                <a:lnTo>
                  <a:pt x="90" y="278"/>
                </a:lnTo>
                <a:lnTo>
                  <a:pt x="90" y="278"/>
                </a:lnTo>
                <a:lnTo>
                  <a:pt x="93" y="280"/>
                </a:lnTo>
                <a:lnTo>
                  <a:pt x="93" y="280"/>
                </a:lnTo>
                <a:lnTo>
                  <a:pt x="97" y="281"/>
                </a:lnTo>
                <a:lnTo>
                  <a:pt x="97" y="281"/>
                </a:lnTo>
                <a:lnTo>
                  <a:pt x="100" y="282"/>
                </a:lnTo>
                <a:lnTo>
                  <a:pt x="100" y="282"/>
                </a:lnTo>
                <a:lnTo>
                  <a:pt x="103" y="283"/>
                </a:lnTo>
                <a:lnTo>
                  <a:pt x="103" y="283"/>
                </a:lnTo>
                <a:lnTo>
                  <a:pt x="106" y="284"/>
                </a:lnTo>
                <a:lnTo>
                  <a:pt x="106" y="284"/>
                </a:lnTo>
                <a:lnTo>
                  <a:pt x="110" y="285"/>
                </a:lnTo>
                <a:lnTo>
                  <a:pt x="110" y="285"/>
                </a:lnTo>
                <a:lnTo>
                  <a:pt x="113" y="285"/>
                </a:lnTo>
                <a:lnTo>
                  <a:pt x="113" y="285"/>
                </a:lnTo>
                <a:lnTo>
                  <a:pt x="118" y="286"/>
                </a:lnTo>
                <a:lnTo>
                  <a:pt x="118" y="286"/>
                </a:lnTo>
                <a:lnTo>
                  <a:pt x="120" y="287"/>
                </a:lnTo>
                <a:lnTo>
                  <a:pt x="120" y="287"/>
                </a:lnTo>
                <a:lnTo>
                  <a:pt x="124" y="287"/>
                </a:lnTo>
                <a:lnTo>
                  <a:pt x="124" y="287"/>
                </a:lnTo>
                <a:lnTo>
                  <a:pt x="128" y="288"/>
                </a:lnTo>
                <a:lnTo>
                  <a:pt x="128" y="288"/>
                </a:lnTo>
                <a:lnTo>
                  <a:pt x="131" y="288"/>
                </a:lnTo>
                <a:lnTo>
                  <a:pt x="131" y="288"/>
                </a:lnTo>
                <a:lnTo>
                  <a:pt x="135" y="288"/>
                </a:lnTo>
                <a:lnTo>
                  <a:pt x="135" y="288"/>
                </a:lnTo>
                <a:lnTo>
                  <a:pt x="138" y="289"/>
                </a:lnTo>
                <a:lnTo>
                  <a:pt x="138" y="289"/>
                </a:lnTo>
                <a:lnTo>
                  <a:pt x="145" y="289"/>
                </a:lnTo>
                <a:lnTo>
                  <a:pt x="145" y="289"/>
                </a:lnTo>
                <a:lnTo>
                  <a:pt x="152" y="289"/>
                </a:lnTo>
                <a:lnTo>
                  <a:pt x="152" y="289"/>
                </a:lnTo>
                <a:lnTo>
                  <a:pt x="155" y="288"/>
                </a:lnTo>
                <a:lnTo>
                  <a:pt x="155" y="288"/>
                </a:lnTo>
                <a:lnTo>
                  <a:pt x="159" y="288"/>
                </a:lnTo>
                <a:lnTo>
                  <a:pt x="159" y="288"/>
                </a:lnTo>
                <a:lnTo>
                  <a:pt x="162" y="288"/>
                </a:lnTo>
                <a:lnTo>
                  <a:pt x="162" y="288"/>
                </a:lnTo>
                <a:lnTo>
                  <a:pt x="165" y="287"/>
                </a:lnTo>
                <a:lnTo>
                  <a:pt x="165" y="287"/>
                </a:lnTo>
                <a:lnTo>
                  <a:pt x="169" y="287"/>
                </a:lnTo>
                <a:lnTo>
                  <a:pt x="169" y="287"/>
                </a:lnTo>
                <a:lnTo>
                  <a:pt x="172" y="286"/>
                </a:lnTo>
                <a:lnTo>
                  <a:pt x="172" y="286"/>
                </a:lnTo>
                <a:lnTo>
                  <a:pt x="176" y="285"/>
                </a:lnTo>
                <a:lnTo>
                  <a:pt x="176" y="285"/>
                </a:lnTo>
                <a:lnTo>
                  <a:pt x="178" y="285"/>
                </a:lnTo>
                <a:lnTo>
                  <a:pt x="178" y="285"/>
                </a:lnTo>
                <a:lnTo>
                  <a:pt x="182" y="284"/>
                </a:lnTo>
                <a:lnTo>
                  <a:pt x="182" y="284"/>
                </a:lnTo>
                <a:lnTo>
                  <a:pt x="185" y="283"/>
                </a:lnTo>
                <a:lnTo>
                  <a:pt x="185" y="283"/>
                </a:lnTo>
                <a:lnTo>
                  <a:pt x="189" y="282"/>
                </a:lnTo>
                <a:lnTo>
                  <a:pt x="189" y="282"/>
                </a:lnTo>
                <a:lnTo>
                  <a:pt x="191" y="281"/>
                </a:lnTo>
                <a:lnTo>
                  <a:pt x="191" y="281"/>
                </a:lnTo>
                <a:lnTo>
                  <a:pt x="195" y="280"/>
                </a:lnTo>
                <a:lnTo>
                  <a:pt x="195" y="280"/>
                </a:lnTo>
                <a:lnTo>
                  <a:pt x="198" y="279"/>
                </a:lnTo>
                <a:lnTo>
                  <a:pt x="198" y="279"/>
                </a:lnTo>
                <a:lnTo>
                  <a:pt x="201" y="277"/>
                </a:lnTo>
                <a:lnTo>
                  <a:pt x="201" y="277"/>
                </a:lnTo>
                <a:lnTo>
                  <a:pt x="205" y="276"/>
                </a:lnTo>
                <a:lnTo>
                  <a:pt x="205" y="276"/>
                </a:lnTo>
                <a:lnTo>
                  <a:pt x="207" y="275"/>
                </a:lnTo>
                <a:lnTo>
                  <a:pt x="207" y="275"/>
                </a:lnTo>
                <a:lnTo>
                  <a:pt x="216" y="270"/>
                </a:lnTo>
                <a:lnTo>
                  <a:pt x="224" y="265"/>
                </a:lnTo>
                <a:lnTo>
                  <a:pt x="232" y="259"/>
                </a:lnTo>
                <a:lnTo>
                  <a:pt x="240" y="253"/>
                </a:lnTo>
                <a:lnTo>
                  <a:pt x="244" y="249"/>
                </a:lnTo>
                <a:lnTo>
                  <a:pt x="244" y="249"/>
                </a:lnTo>
                <a:lnTo>
                  <a:pt x="244" y="249"/>
                </a:lnTo>
                <a:lnTo>
                  <a:pt x="254" y="239"/>
                </a:lnTo>
                <a:lnTo>
                  <a:pt x="263" y="227"/>
                </a:lnTo>
                <a:lnTo>
                  <a:pt x="270" y="215"/>
                </a:lnTo>
                <a:lnTo>
                  <a:pt x="277" y="202"/>
                </a:lnTo>
                <a:lnTo>
                  <a:pt x="282" y="189"/>
                </a:lnTo>
                <a:lnTo>
                  <a:pt x="285" y="174"/>
                </a:lnTo>
                <a:lnTo>
                  <a:pt x="288" y="159"/>
                </a:lnTo>
                <a:lnTo>
                  <a:pt x="289" y="144"/>
                </a:lnTo>
                <a:lnTo>
                  <a:pt x="289" y="144"/>
                </a:lnTo>
                <a:close/>
                <a:moveTo>
                  <a:pt x="228" y="251"/>
                </a:moveTo>
                <a:lnTo>
                  <a:pt x="228" y="251"/>
                </a:lnTo>
                <a:lnTo>
                  <a:pt x="221" y="255"/>
                </a:lnTo>
                <a:lnTo>
                  <a:pt x="221" y="255"/>
                </a:lnTo>
                <a:lnTo>
                  <a:pt x="219" y="257"/>
                </a:lnTo>
                <a:lnTo>
                  <a:pt x="219" y="257"/>
                </a:lnTo>
                <a:lnTo>
                  <a:pt x="211" y="262"/>
                </a:lnTo>
                <a:lnTo>
                  <a:pt x="211" y="262"/>
                </a:lnTo>
                <a:lnTo>
                  <a:pt x="210" y="263"/>
                </a:lnTo>
                <a:lnTo>
                  <a:pt x="210" y="263"/>
                </a:lnTo>
                <a:lnTo>
                  <a:pt x="201" y="267"/>
                </a:lnTo>
                <a:lnTo>
                  <a:pt x="201" y="267"/>
                </a:lnTo>
                <a:lnTo>
                  <a:pt x="199" y="268"/>
                </a:lnTo>
                <a:lnTo>
                  <a:pt x="199" y="268"/>
                </a:lnTo>
                <a:lnTo>
                  <a:pt x="190" y="271"/>
                </a:lnTo>
                <a:lnTo>
                  <a:pt x="190" y="271"/>
                </a:lnTo>
                <a:lnTo>
                  <a:pt x="189" y="272"/>
                </a:lnTo>
                <a:lnTo>
                  <a:pt x="189" y="272"/>
                </a:lnTo>
                <a:lnTo>
                  <a:pt x="179" y="275"/>
                </a:lnTo>
                <a:lnTo>
                  <a:pt x="168" y="277"/>
                </a:lnTo>
                <a:lnTo>
                  <a:pt x="168" y="277"/>
                </a:lnTo>
                <a:lnTo>
                  <a:pt x="167" y="277"/>
                </a:lnTo>
                <a:lnTo>
                  <a:pt x="167" y="277"/>
                </a:lnTo>
                <a:lnTo>
                  <a:pt x="157" y="279"/>
                </a:lnTo>
                <a:lnTo>
                  <a:pt x="157" y="279"/>
                </a:lnTo>
                <a:lnTo>
                  <a:pt x="155" y="279"/>
                </a:lnTo>
                <a:lnTo>
                  <a:pt x="155" y="279"/>
                </a:lnTo>
                <a:lnTo>
                  <a:pt x="145" y="279"/>
                </a:lnTo>
                <a:lnTo>
                  <a:pt x="145" y="279"/>
                </a:lnTo>
                <a:lnTo>
                  <a:pt x="134" y="279"/>
                </a:lnTo>
                <a:lnTo>
                  <a:pt x="134" y="279"/>
                </a:lnTo>
                <a:lnTo>
                  <a:pt x="133" y="279"/>
                </a:lnTo>
                <a:lnTo>
                  <a:pt x="133" y="279"/>
                </a:lnTo>
                <a:lnTo>
                  <a:pt x="122" y="277"/>
                </a:lnTo>
                <a:lnTo>
                  <a:pt x="122" y="277"/>
                </a:lnTo>
                <a:lnTo>
                  <a:pt x="121" y="277"/>
                </a:lnTo>
                <a:lnTo>
                  <a:pt x="121" y="277"/>
                </a:lnTo>
                <a:lnTo>
                  <a:pt x="110" y="275"/>
                </a:lnTo>
                <a:lnTo>
                  <a:pt x="110" y="275"/>
                </a:lnTo>
                <a:lnTo>
                  <a:pt x="110" y="275"/>
                </a:lnTo>
                <a:lnTo>
                  <a:pt x="99" y="272"/>
                </a:lnTo>
                <a:lnTo>
                  <a:pt x="99" y="272"/>
                </a:lnTo>
                <a:lnTo>
                  <a:pt x="99" y="271"/>
                </a:lnTo>
                <a:lnTo>
                  <a:pt x="99" y="271"/>
                </a:lnTo>
                <a:lnTo>
                  <a:pt x="89" y="268"/>
                </a:lnTo>
                <a:lnTo>
                  <a:pt x="89" y="268"/>
                </a:lnTo>
                <a:lnTo>
                  <a:pt x="87" y="267"/>
                </a:lnTo>
                <a:lnTo>
                  <a:pt x="87" y="267"/>
                </a:lnTo>
                <a:lnTo>
                  <a:pt x="79" y="263"/>
                </a:lnTo>
                <a:lnTo>
                  <a:pt x="79" y="263"/>
                </a:lnTo>
                <a:lnTo>
                  <a:pt x="77" y="261"/>
                </a:lnTo>
                <a:lnTo>
                  <a:pt x="77" y="261"/>
                </a:lnTo>
                <a:lnTo>
                  <a:pt x="69" y="256"/>
                </a:lnTo>
                <a:lnTo>
                  <a:pt x="69" y="256"/>
                </a:lnTo>
                <a:lnTo>
                  <a:pt x="67" y="255"/>
                </a:lnTo>
                <a:lnTo>
                  <a:pt x="67" y="255"/>
                </a:lnTo>
                <a:lnTo>
                  <a:pt x="61" y="250"/>
                </a:lnTo>
                <a:lnTo>
                  <a:pt x="61" y="250"/>
                </a:lnTo>
                <a:lnTo>
                  <a:pt x="59" y="249"/>
                </a:lnTo>
                <a:lnTo>
                  <a:pt x="59" y="249"/>
                </a:lnTo>
                <a:lnTo>
                  <a:pt x="69" y="243"/>
                </a:lnTo>
                <a:lnTo>
                  <a:pt x="78" y="237"/>
                </a:lnTo>
                <a:lnTo>
                  <a:pt x="89" y="233"/>
                </a:lnTo>
                <a:lnTo>
                  <a:pt x="99" y="229"/>
                </a:lnTo>
                <a:lnTo>
                  <a:pt x="110" y="226"/>
                </a:lnTo>
                <a:lnTo>
                  <a:pt x="122" y="224"/>
                </a:lnTo>
                <a:lnTo>
                  <a:pt x="133" y="222"/>
                </a:lnTo>
                <a:lnTo>
                  <a:pt x="145" y="222"/>
                </a:lnTo>
                <a:lnTo>
                  <a:pt x="145" y="222"/>
                </a:lnTo>
                <a:lnTo>
                  <a:pt x="156" y="222"/>
                </a:lnTo>
                <a:lnTo>
                  <a:pt x="167" y="224"/>
                </a:lnTo>
                <a:lnTo>
                  <a:pt x="178" y="226"/>
                </a:lnTo>
                <a:lnTo>
                  <a:pt x="189" y="229"/>
                </a:lnTo>
                <a:lnTo>
                  <a:pt x="200" y="233"/>
                </a:lnTo>
                <a:lnTo>
                  <a:pt x="210" y="237"/>
                </a:lnTo>
                <a:lnTo>
                  <a:pt x="220" y="243"/>
                </a:lnTo>
                <a:lnTo>
                  <a:pt x="229" y="249"/>
                </a:lnTo>
                <a:lnTo>
                  <a:pt x="229" y="249"/>
                </a:lnTo>
                <a:lnTo>
                  <a:pt x="228" y="251"/>
                </a:lnTo>
                <a:lnTo>
                  <a:pt x="228" y="251"/>
                </a:lnTo>
                <a:close/>
                <a:moveTo>
                  <a:pt x="236" y="243"/>
                </a:moveTo>
                <a:lnTo>
                  <a:pt x="236" y="243"/>
                </a:lnTo>
                <a:lnTo>
                  <a:pt x="226" y="236"/>
                </a:lnTo>
                <a:lnTo>
                  <a:pt x="216" y="230"/>
                </a:lnTo>
                <a:lnTo>
                  <a:pt x="204" y="224"/>
                </a:lnTo>
                <a:lnTo>
                  <a:pt x="193" y="220"/>
                </a:lnTo>
                <a:lnTo>
                  <a:pt x="181" y="217"/>
                </a:lnTo>
                <a:lnTo>
                  <a:pt x="169" y="214"/>
                </a:lnTo>
                <a:lnTo>
                  <a:pt x="157" y="213"/>
                </a:lnTo>
                <a:lnTo>
                  <a:pt x="145" y="212"/>
                </a:lnTo>
                <a:lnTo>
                  <a:pt x="145" y="212"/>
                </a:lnTo>
                <a:lnTo>
                  <a:pt x="132" y="213"/>
                </a:lnTo>
                <a:lnTo>
                  <a:pt x="120" y="214"/>
                </a:lnTo>
                <a:lnTo>
                  <a:pt x="107" y="217"/>
                </a:lnTo>
                <a:lnTo>
                  <a:pt x="95" y="220"/>
                </a:lnTo>
                <a:lnTo>
                  <a:pt x="84" y="224"/>
                </a:lnTo>
                <a:lnTo>
                  <a:pt x="73" y="230"/>
                </a:lnTo>
                <a:lnTo>
                  <a:pt x="62" y="236"/>
                </a:lnTo>
                <a:lnTo>
                  <a:pt x="52" y="243"/>
                </a:lnTo>
                <a:lnTo>
                  <a:pt x="52" y="243"/>
                </a:lnTo>
                <a:lnTo>
                  <a:pt x="43" y="233"/>
                </a:lnTo>
                <a:lnTo>
                  <a:pt x="34" y="223"/>
                </a:lnTo>
                <a:lnTo>
                  <a:pt x="27" y="211"/>
                </a:lnTo>
                <a:lnTo>
                  <a:pt x="21" y="199"/>
                </a:lnTo>
                <a:lnTo>
                  <a:pt x="16" y="186"/>
                </a:lnTo>
                <a:lnTo>
                  <a:pt x="13" y="172"/>
                </a:lnTo>
                <a:lnTo>
                  <a:pt x="10" y="158"/>
                </a:lnTo>
                <a:lnTo>
                  <a:pt x="10" y="144"/>
                </a:lnTo>
                <a:lnTo>
                  <a:pt x="10" y="144"/>
                </a:lnTo>
                <a:lnTo>
                  <a:pt x="10" y="130"/>
                </a:lnTo>
                <a:lnTo>
                  <a:pt x="12" y="117"/>
                </a:lnTo>
                <a:lnTo>
                  <a:pt x="16" y="104"/>
                </a:lnTo>
                <a:lnTo>
                  <a:pt x="20" y="92"/>
                </a:lnTo>
                <a:lnTo>
                  <a:pt x="26" y="80"/>
                </a:lnTo>
                <a:lnTo>
                  <a:pt x="33" y="69"/>
                </a:lnTo>
                <a:lnTo>
                  <a:pt x="40" y="59"/>
                </a:lnTo>
                <a:lnTo>
                  <a:pt x="49" y="49"/>
                </a:lnTo>
                <a:lnTo>
                  <a:pt x="58" y="41"/>
                </a:lnTo>
                <a:lnTo>
                  <a:pt x="69" y="33"/>
                </a:lnTo>
                <a:lnTo>
                  <a:pt x="80" y="26"/>
                </a:lnTo>
                <a:lnTo>
                  <a:pt x="92" y="20"/>
                </a:lnTo>
                <a:lnTo>
                  <a:pt x="104" y="16"/>
                </a:lnTo>
                <a:lnTo>
                  <a:pt x="118" y="13"/>
                </a:lnTo>
                <a:lnTo>
                  <a:pt x="131" y="11"/>
                </a:lnTo>
                <a:lnTo>
                  <a:pt x="145" y="10"/>
                </a:lnTo>
                <a:lnTo>
                  <a:pt x="145" y="10"/>
                </a:lnTo>
                <a:lnTo>
                  <a:pt x="158" y="11"/>
                </a:lnTo>
                <a:lnTo>
                  <a:pt x="172" y="13"/>
                </a:lnTo>
                <a:lnTo>
                  <a:pt x="185" y="16"/>
                </a:lnTo>
                <a:lnTo>
                  <a:pt x="197" y="20"/>
                </a:lnTo>
                <a:lnTo>
                  <a:pt x="209" y="26"/>
                </a:lnTo>
                <a:lnTo>
                  <a:pt x="220" y="33"/>
                </a:lnTo>
                <a:lnTo>
                  <a:pt x="230" y="41"/>
                </a:lnTo>
                <a:lnTo>
                  <a:pt x="240" y="49"/>
                </a:lnTo>
                <a:lnTo>
                  <a:pt x="248" y="59"/>
                </a:lnTo>
                <a:lnTo>
                  <a:pt x="256" y="69"/>
                </a:lnTo>
                <a:lnTo>
                  <a:pt x="263" y="80"/>
                </a:lnTo>
                <a:lnTo>
                  <a:pt x="268" y="92"/>
                </a:lnTo>
                <a:lnTo>
                  <a:pt x="273" y="104"/>
                </a:lnTo>
                <a:lnTo>
                  <a:pt x="276" y="117"/>
                </a:lnTo>
                <a:lnTo>
                  <a:pt x="278" y="130"/>
                </a:lnTo>
                <a:lnTo>
                  <a:pt x="279" y="144"/>
                </a:lnTo>
                <a:lnTo>
                  <a:pt x="279" y="144"/>
                </a:lnTo>
                <a:lnTo>
                  <a:pt x="278" y="158"/>
                </a:lnTo>
                <a:lnTo>
                  <a:pt x="276" y="172"/>
                </a:lnTo>
                <a:lnTo>
                  <a:pt x="272" y="187"/>
                </a:lnTo>
                <a:lnTo>
                  <a:pt x="268" y="199"/>
                </a:lnTo>
                <a:lnTo>
                  <a:pt x="261" y="211"/>
                </a:lnTo>
                <a:lnTo>
                  <a:pt x="254" y="223"/>
                </a:lnTo>
                <a:lnTo>
                  <a:pt x="246" y="233"/>
                </a:lnTo>
                <a:lnTo>
                  <a:pt x="236" y="243"/>
                </a:lnTo>
                <a:lnTo>
                  <a:pt x="236" y="243"/>
                </a:lnTo>
                <a:close/>
                <a:moveTo>
                  <a:pt x="140" y="34"/>
                </a:moveTo>
                <a:lnTo>
                  <a:pt x="140" y="24"/>
                </a:lnTo>
                <a:lnTo>
                  <a:pt x="140" y="24"/>
                </a:lnTo>
                <a:lnTo>
                  <a:pt x="140" y="22"/>
                </a:lnTo>
                <a:lnTo>
                  <a:pt x="141" y="21"/>
                </a:lnTo>
                <a:lnTo>
                  <a:pt x="143" y="20"/>
                </a:lnTo>
                <a:lnTo>
                  <a:pt x="145" y="19"/>
                </a:lnTo>
                <a:lnTo>
                  <a:pt x="145" y="19"/>
                </a:lnTo>
                <a:lnTo>
                  <a:pt x="147" y="20"/>
                </a:lnTo>
                <a:lnTo>
                  <a:pt x="148" y="21"/>
                </a:lnTo>
                <a:lnTo>
                  <a:pt x="149" y="22"/>
                </a:lnTo>
                <a:lnTo>
                  <a:pt x="150" y="24"/>
                </a:lnTo>
                <a:lnTo>
                  <a:pt x="150" y="34"/>
                </a:lnTo>
                <a:lnTo>
                  <a:pt x="150" y="34"/>
                </a:lnTo>
                <a:lnTo>
                  <a:pt x="149" y="36"/>
                </a:lnTo>
                <a:lnTo>
                  <a:pt x="148" y="37"/>
                </a:lnTo>
                <a:lnTo>
                  <a:pt x="147" y="38"/>
                </a:lnTo>
                <a:lnTo>
                  <a:pt x="145" y="39"/>
                </a:lnTo>
                <a:lnTo>
                  <a:pt x="145" y="39"/>
                </a:lnTo>
                <a:lnTo>
                  <a:pt x="143" y="38"/>
                </a:lnTo>
                <a:lnTo>
                  <a:pt x="141" y="37"/>
                </a:lnTo>
                <a:lnTo>
                  <a:pt x="140" y="36"/>
                </a:lnTo>
                <a:lnTo>
                  <a:pt x="140" y="34"/>
                </a:lnTo>
                <a:lnTo>
                  <a:pt x="140" y="34"/>
                </a:lnTo>
                <a:close/>
                <a:moveTo>
                  <a:pt x="272" y="144"/>
                </a:moveTo>
                <a:lnTo>
                  <a:pt x="272" y="144"/>
                </a:lnTo>
                <a:lnTo>
                  <a:pt x="271" y="146"/>
                </a:lnTo>
                <a:lnTo>
                  <a:pt x="270" y="147"/>
                </a:lnTo>
                <a:lnTo>
                  <a:pt x="269" y="148"/>
                </a:lnTo>
                <a:lnTo>
                  <a:pt x="267" y="149"/>
                </a:lnTo>
                <a:lnTo>
                  <a:pt x="257" y="149"/>
                </a:lnTo>
                <a:lnTo>
                  <a:pt x="257" y="149"/>
                </a:lnTo>
                <a:lnTo>
                  <a:pt x="256" y="148"/>
                </a:lnTo>
                <a:lnTo>
                  <a:pt x="254" y="147"/>
                </a:lnTo>
                <a:lnTo>
                  <a:pt x="253" y="146"/>
                </a:lnTo>
                <a:lnTo>
                  <a:pt x="253" y="144"/>
                </a:lnTo>
                <a:lnTo>
                  <a:pt x="253" y="144"/>
                </a:lnTo>
                <a:lnTo>
                  <a:pt x="253" y="142"/>
                </a:lnTo>
                <a:lnTo>
                  <a:pt x="254" y="141"/>
                </a:lnTo>
                <a:lnTo>
                  <a:pt x="256" y="140"/>
                </a:lnTo>
                <a:lnTo>
                  <a:pt x="257" y="139"/>
                </a:lnTo>
                <a:lnTo>
                  <a:pt x="267" y="139"/>
                </a:lnTo>
                <a:lnTo>
                  <a:pt x="267" y="139"/>
                </a:lnTo>
                <a:lnTo>
                  <a:pt x="269" y="140"/>
                </a:lnTo>
                <a:lnTo>
                  <a:pt x="270" y="141"/>
                </a:lnTo>
                <a:lnTo>
                  <a:pt x="271" y="142"/>
                </a:lnTo>
                <a:lnTo>
                  <a:pt x="272" y="144"/>
                </a:lnTo>
                <a:lnTo>
                  <a:pt x="272" y="144"/>
                </a:lnTo>
                <a:close/>
                <a:moveTo>
                  <a:pt x="31" y="149"/>
                </a:moveTo>
                <a:lnTo>
                  <a:pt x="22" y="149"/>
                </a:lnTo>
                <a:lnTo>
                  <a:pt x="22" y="149"/>
                </a:lnTo>
                <a:lnTo>
                  <a:pt x="20" y="148"/>
                </a:lnTo>
                <a:lnTo>
                  <a:pt x="18" y="147"/>
                </a:lnTo>
                <a:lnTo>
                  <a:pt x="17" y="146"/>
                </a:lnTo>
                <a:lnTo>
                  <a:pt x="17" y="144"/>
                </a:lnTo>
                <a:lnTo>
                  <a:pt x="17" y="144"/>
                </a:lnTo>
                <a:lnTo>
                  <a:pt x="17" y="142"/>
                </a:lnTo>
                <a:lnTo>
                  <a:pt x="18" y="141"/>
                </a:lnTo>
                <a:lnTo>
                  <a:pt x="20" y="140"/>
                </a:lnTo>
                <a:lnTo>
                  <a:pt x="22" y="139"/>
                </a:lnTo>
                <a:lnTo>
                  <a:pt x="31" y="139"/>
                </a:lnTo>
                <a:lnTo>
                  <a:pt x="31" y="139"/>
                </a:lnTo>
                <a:lnTo>
                  <a:pt x="33" y="140"/>
                </a:lnTo>
                <a:lnTo>
                  <a:pt x="35" y="141"/>
                </a:lnTo>
                <a:lnTo>
                  <a:pt x="36" y="142"/>
                </a:lnTo>
                <a:lnTo>
                  <a:pt x="36" y="144"/>
                </a:lnTo>
                <a:lnTo>
                  <a:pt x="36" y="144"/>
                </a:lnTo>
                <a:lnTo>
                  <a:pt x="36" y="146"/>
                </a:lnTo>
                <a:lnTo>
                  <a:pt x="35" y="147"/>
                </a:lnTo>
                <a:lnTo>
                  <a:pt x="33" y="148"/>
                </a:lnTo>
                <a:lnTo>
                  <a:pt x="31" y="149"/>
                </a:lnTo>
                <a:lnTo>
                  <a:pt x="31" y="149"/>
                </a:lnTo>
                <a:close/>
                <a:moveTo>
                  <a:pt x="210" y="43"/>
                </a:moveTo>
                <a:lnTo>
                  <a:pt x="205" y="51"/>
                </a:lnTo>
                <a:lnTo>
                  <a:pt x="205" y="51"/>
                </a:lnTo>
                <a:lnTo>
                  <a:pt x="203" y="53"/>
                </a:lnTo>
                <a:lnTo>
                  <a:pt x="201" y="54"/>
                </a:lnTo>
                <a:lnTo>
                  <a:pt x="201" y="54"/>
                </a:lnTo>
                <a:lnTo>
                  <a:pt x="199" y="53"/>
                </a:lnTo>
                <a:lnTo>
                  <a:pt x="199" y="53"/>
                </a:lnTo>
                <a:lnTo>
                  <a:pt x="197" y="52"/>
                </a:lnTo>
                <a:lnTo>
                  <a:pt x="196" y="50"/>
                </a:lnTo>
                <a:lnTo>
                  <a:pt x="196" y="48"/>
                </a:lnTo>
                <a:lnTo>
                  <a:pt x="197" y="47"/>
                </a:lnTo>
                <a:lnTo>
                  <a:pt x="202" y="38"/>
                </a:lnTo>
                <a:lnTo>
                  <a:pt x="202" y="38"/>
                </a:lnTo>
                <a:lnTo>
                  <a:pt x="203" y="37"/>
                </a:lnTo>
                <a:lnTo>
                  <a:pt x="205" y="36"/>
                </a:lnTo>
                <a:lnTo>
                  <a:pt x="207" y="36"/>
                </a:lnTo>
                <a:lnTo>
                  <a:pt x="208" y="36"/>
                </a:lnTo>
                <a:lnTo>
                  <a:pt x="208" y="36"/>
                </a:lnTo>
                <a:lnTo>
                  <a:pt x="210" y="38"/>
                </a:lnTo>
                <a:lnTo>
                  <a:pt x="211" y="39"/>
                </a:lnTo>
                <a:lnTo>
                  <a:pt x="211" y="41"/>
                </a:lnTo>
                <a:lnTo>
                  <a:pt x="210" y="43"/>
                </a:lnTo>
                <a:lnTo>
                  <a:pt x="210" y="43"/>
                </a:lnTo>
                <a:close/>
                <a:moveTo>
                  <a:pt x="255" y="211"/>
                </a:moveTo>
                <a:lnTo>
                  <a:pt x="255" y="211"/>
                </a:lnTo>
                <a:lnTo>
                  <a:pt x="253" y="213"/>
                </a:lnTo>
                <a:lnTo>
                  <a:pt x="251" y="213"/>
                </a:lnTo>
                <a:lnTo>
                  <a:pt x="251" y="213"/>
                </a:lnTo>
                <a:lnTo>
                  <a:pt x="248" y="213"/>
                </a:lnTo>
                <a:lnTo>
                  <a:pt x="240" y="208"/>
                </a:lnTo>
                <a:lnTo>
                  <a:pt x="240" y="208"/>
                </a:lnTo>
                <a:lnTo>
                  <a:pt x="239" y="207"/>
                </a:lnTo>
                <a:lnTo>
                  <a:pt x="238" y="205"/>
                </a:lnTo>
                <a:lnTo>
                  <a:pt x="238" y="203"/>
                </a:lnTo>
                <a:lnTo>
                  <a:pt x="238" y="201"/>
                </a:lnTo>
                <a:lnTo>
                  <a:pt x="238" y="201"/>
                </a:lnTo>
                <a:lnTo>
                  <a:pt x="239" y="200"/>
                </a:lnTo>
                <a:lnTo>
                  <a:pt x="241" y="199"/>
                </a:lnTo>
                <a:lnTo>
                  <a:pt x="243" y="199"/>
                </a:lnTo>
                <a:lnTo>
                  <a:pt x="245" y="200"/>
                </a:lnTo>
                <a:lnTo>
                  <a:pt x="253" y="204"/>
                </a:lnTo>
                <a:lnTo>
                  <a:pt x="253" y="204"/>
                </a:lnTo>
                <a:lnTo>
                  <a:pt x="254" y="206"/>
                </a:lnTo>
                <a:lnTo>
                  <a:pt x="255" y="207"/>
                </a:lnTo>
                <a:lnTo>
                  <a:pt x="255" y="209"/>
                </a:lnTo>
                <a:lnTo>
                  <a:pt x="255" y="211"/>
                </a:lnTo>
                <a:lnTo>
                  <a:pt x="255" y="211"/>
                </a:lnTo>
                <a:close/>
                <a:moveTo>
                  <a:pt x="50" y="93"/>
                </a:moveTo>
                <a:lnTo>
                  <a:pt x="50" y="93"/>
                </a:lnTo>
                <a:lnTo>
                  <a:pt x="49" y="94"/>
                </a:lnTo>
                <a:lnTo>
                  <a:pt x="46" y="95"/>
                </a:lnTo>
                <a:lnTo>
                  <a:pt x="46" y="95"/>
                </a:lnTo>
                <a:lnTo>
                  <a:pt x="44" y="94"/>
                </a:lnTo>
                <a:lnTo>
                  <a:pt x="36" y="90"/>
                </a:lnTo>
                <a:lnTo>
                  <a:pt x="36" y="90"/>
                </a:lnTo>
                <a:lnTo>
                  <a:pt x="34" y="88"/>
                </a:lnTo>
                <a:lnTo>
                  <a:pt x="33" y="87"/>
                </a:lnTo>
                <a:lnTo>
                  <a:pt x="33" y="85"/>
                </a:lnTo>
                <a:lnTo>
                  <a:pt x="34" y="83"/>
                </a:lnTo>
                <a:lnTo>
                  <a:pt x="34" y="83"/>
                </a:lnTo>
                <a:lnTo>
                  <a:pt x="35" y="82"/>
                </a:lnTo>
                <a:lnTo>
                  <a:pt x="37" y="81"/>
                </a:lnTo>
                <a:lnTo>
                  <a:pt x="39" y="81"/>
                </a:lnTo>
                <a:lnTo>
                  <a:pt x="40" y="81"/>
                </a:lnTo>
                <a:lnTo>
                  <a:pt x="49" y="86"/>
                </a:lnTo>
                <a:lnTo>
                  <a:pt x="49" y="86"/>
                </a:lnTo>
                <a:lnTo>
                  <a:pt x="50" y="87"/>
                </a:lnTo>
                <a:lnTo>
                  <a:pt x="51" y="89"/>
                </a:lnTo>
                <a:lnTo>
                  <a:pt x="51" y="91"/>
                </a:lnTo>
                <a:lnTo>
                  <a:pt x="50" y="93"/>
                </a:lnTo>
                <a:lnTo>
                  <a:pt x="50" y="93"/>
                </a:lnTo>
                <a:close/>
                <a:moveTo>
                  <a:pt x="92" y="46"/>
                </a:moveTo>
                <a:lnTo>
                  <a:pt x="92" y="46"/>
                </a:lnTo>
                <a:lnTo>
                  <a:pt x="92" y="48"/>
                </a:lnTo>
                <a:lnTo>
                  <a:pt x="92" y="50"/>
                </a:lnTo>
                <a:lnTo>
                  <a:pt x="91" y="52"/>
                </a:lnTo>
                <a:lnTo>
                  <a:pt x="90" y="53"/>
                </a:lnTo>
                <a:lnTo>
                  <a:pt x="90" y="53"/>
                </a:lnTo>
                <a:lnTo>
                  <a:pt x="87" y="54"/>
                </a:lnTo>
                <a:lnTo>
                  <a:pt x="87" y="54"/>
                </a:lnTo>
                <a:lnTo>
                  <a:pt x="85" y="53"/>
                </a:lnTo>
                <a:lnTo>
                  <a:pt x="83" y="51"/>
                </a:lnTo>
                <a:lnTo>
                  <a:pt x="78" y="43"/>
                </a:lnTo>
                <a:lnTo>
                  <a:pt x="78" y="43"/>
                </a:lnTo>
                <a:lnTo>
                  <a:pt x="78" y="41"/>
                </a:lnTo>
                <a:lnTo>
                  <a:pt x="78" y="39"/>
                </a:lnTo>
                <a:lnTo>
                  <a:pt x="79" y="38"/>
                </a:lnTo>
                <a:lnTo>
                  <a:pt x="80" y="36"/>
                </a:lnTo>
                <a:lnTo>
                  <a:pt x="80" y="36"/>
                </a:lnTo>
                <a:lnTo>
                  <a:pt x="82" y="36"/>
                </a:lnTo>
                <a:lnTo>
                  <a:pt x="84" y="36"/>
                </a:lnTo>
                <a:lnTo>
                  <a:pt x="86" y="37"/>
                </a:lnTo>
                <a:lnTo>
                  <a:pt x="87" y="38"/>
                </a:lnTo>
                <a:lnTo>
                  <a:pt x="92" y="46"/>
                </a:lnTo>
                <a:close/>
                <a:moveTo>
                  <a:pt x="237" y="90"/>
                </a:moveTo>
                <a:lnTo>
                  <a:pt x="237" y="90"/>
                </a:lnTo>
                <a:lnTo>
                  <a:pt x="236" y="88"/>
                </a:lnTo>
                <a:lnTo>
                  <a:pt x="237" y="87"/>
                </a:lnTo>
                <a:lnTo>
                  <a:pt x="237" y="85"/>
                </a:lnTo>
                <a:lnTo>
                  <a:pt x="239" y="84"/>
                </a:lnTo>
                <a:lnTo>
                  <a:pt x="247" y="79"/>
                </a:lnTo>
                <a:lnTo>
                  <a:pt x="247" y="79"/>
                </a:lnTo>
                <a:lnTo>
                  <a:pt x="249" y="78"/>
                </a:lnTo>
                <a:lnTo>
                  <a:pt x="251" y="78"/>
                </a:lnTo>
                <a:lnTo>
                  <a:pt x="252" y="79"/>
                </a:lnTo>
                <a:lnTo>
                  <a:pt x="254" y="81"/>
                </a:lnTo>
                <a:lnTo>
                  <a:pt x="254" y="81"/>
                </a:lnTo>
                <a:lnTo>
                  <a:pt x="254" y="83"/>
                </a:lnTo>
                <a:lnTo>
                  <a:pt x="254" y="84"/>
                </a:lnTo>
                <a:lnTo>
                  <a:pt x="253" y="86"/>
                </a:lnTo>
                <a:lnTo>
                  <a:pt x="252" y="87"/>
                </a:lnTo>
                <a:lnTo>
                  <a:pt x="244" y="92"/>
                </a:lnTo>
                <a:lnTo>
                  <a:pt x="244" y="92"/>
                </a:lnTo>
                <a:lnTo>
                  <a:pt x="241" y="93"/>
                </a:lnTo>
                <a:lnTo>
                  <a:pt x="241" y="93"/>
                </a:lnTo>
                <a:lnTo>
                  <a:pt x="239" y="92"/>
                </a:lnTo>
                <a:lnTo>
                  <a:pt x="237" y="90"/>
                </a:lnTo>
                <a:lnTo>
                  <a:pt x="237" y="90"/>
                </a:lnTo>
                <a:close/>
                <a:moveTo>
                  <a:pt x="49" y="199"/>
                </a:moveTo>
                <a:lnTo>
                  <a:pt x="49" y="199"/>
                </a:lnTo>
                <a:lnTo>
                  <a:pt x="50" y="201"/>
                </a:lnTo>
                <a:lnTo>
                  <a:pt x="50" y="203"/>
                </a:lnTo>
                <a:lnTo>
                  <a:pt x="49" y="204"/>
                </a:lnTo>
                <a:lnTo>
                  <a:pt x="47" y="206"/>
                </a:lnTo>
                <a:lnTo>
                  <a:pt x="39" y="210"/>
                </a:lnTo>
                <a:lnTo>
                  <a:pt x="39" y="210"/>
                </a:lnTo>
                <a:lnTo>
                  <a:pt x="37" y="211"/>
                </a:lnTo>
                <a:lnTo>
                  <a:pt x="37" y="211"/>
                </a:lnTo>
                <a:lnTo>
                  <a:pt x="34" y="211"/>
                </a:lnTo>
                <a:lnTo>
                  <a:pt x="33" y="209"/>
                </a:lnTo>
                <a:lnTo>
                  <a:pt x="33" y="209"/>
                </a:lnTo>
                <a:lnTo>
                  <a:pt x="32" y="207"/>
                </a:lnTo>
                <a:lnTo>
                  <a:pt x="32" y="205"/>
                </a:lnTo>
                <a:lnTo>
                  <a:pt x="33" y="203"/>
                </a:lnTo>
                <a:lnTo>
                  <a:pt x="34" y="202"/>
                </a:lnTo>
                <a:lnTo>
                  <a:pt x="43" y="197"/>
                </a:lnTo>
                <a:lnTo>
                  <a:pt x="43" y="197"/>
                </a:lnTo>
                <a:lnTo>
                  <a:pt x="44" y="197"/>
                </a:lnTo>
                <a:lnTo>
                  <a:pt x="46" y="197"/>
                </a:lnTo>
                <a:lnTo>
                  <a:pt x="48" y="198"/>
                </a:lnTo>
                <a:lnTo>
                  <a:pt x="49" y="199"/>
                </a:lnTo>
                <a:lnTo>
                  <a:pt x="49" y="199"/>
                </a:lnTo>
                <a:close/>
                <a:moveTo>
                  <a:pt x="196" y="83"/>
                </a:moveTo>
                <a:lnTo>
                  <a:pt x="155" y="123"/>
                </a:lnTo>
                <a:lnTo>
                  <a:pt x="155" y="123"/>
                </a:lnTo>
                <a:lnTo>
                  <a:pt x="149" y="120"/>
                </a:lnTo>
                <a:lnTo>
                  <a:pt x="143" y="120"/>
                </a:lnTo>
                <a:lnTo>
                  <a:pt x="137" y="121"/>
                </a:lnTo>
                <a:lnTo>
                  <a:pt x="134" y="123"/>
                </a:lnTo>
                <a:lnTo>
                  <a:pt x="131" y="125"/>
                </a:lnTo>
                <a:lnTo>
                  <a:pt x="131" y="125"/>
                </a:lnTo>
                <a:lnTo>
                  <a:pt x="129" y="128"/>
                </a:lnTo>
                <a:lnTo>
                  <a:pt x="127" y="131"/>
                </a:lnTo>
                <a:lnTo>
                  <a:pt x="126" y="135"/>
                </a:lnTo>
                <a:lnTo>
                  <a:pt x="126" y="139"/>
                </a:lnTo>
                <a:lnTo>
                  <a:pt x="126" y="139"/>
                </a:lnTo>
                <a:lnTo>
                  <a:pt x="126" y="142"/>
                </a:lnTo>
                <a:lnTo>
                  <a:pt x="127" y="146"/>
                </a:lnTo>
                <a:lnTo>
                  <a:pt x="129" y="149"/>
                </a:lnTo>
                <a:lnTo>
                  <a:pt x="131" y="152"/>
                </a:lnTo>
                <a:lnTo>
                  <a:pt x="131" y="152"/>
                </a:lnTo>
                <a:lnTo>
                  <a:pt x="134" y="155"/>
                </a:lnTo>
                <a:lnTo>
                  <a:pt x="137" y="156"/>
                </a:lnTo>
                <a:lnTo>
                  <a:pt x="141" y="157"/>
                </a:lnTo>
                <a:lnTo>
                  <a:pt x="145" y="158"/>
                </a:lnTo>
                <a:lnTo>
                  <a:pt x="145" y="158"/>
                </a:lnTo>
                <a:lnTo>
                  <a:pt x="149" y="157"/>
                </a:lnTo>
                <a:lnTo>
                  <a:pt x="152" y="156"/>
                </a:lnTo>
                <a:lnTo>
                  <a:pt x="155" y="155"/>
                </a:lnTo>
                <a:lnTo>
                  <a:pt x="158" y="152"/>
                </a:lnTo>
                <a:lnTo>
                  <a:pt x="158" y="152"/>
                </a:lnTo>
                <a:lnTo>
                  <a:pt x="161" y="149"/>
                </a:lnTo>
                <a:lnTo>
                  <a:pt x="163" y="146"/>
                </a:lnTo>
                <a:lnTo>
                  <a:pt x="164" y="142"/>
                </a:lnTo>
                <a:lnTo>
                  <a:pt x="164" y="139"/>
                </a:lnTo>
                <a:lnTo>
                  <a:pt x="164" y="139"/>
                </a:lnTo>
                <a:lnTo>
                  <a:pt x="163" y="134"/>
                </a:lnTo>
                <a:lnTo>
                  <a:pt x="162" y="130"/>
                </a:lnTo>
                <a:lnTo>
                  <a:pt x="202" y="89"/>
                </a:lnTo>
                <a:lnTo>
                  <a:pt x="202" y="89"/>
                </a:lnTo>
                <a:lnTo>
                  <a:pt x="203" y="88"/>
                </a:lnTo>
                <a:lnTo>
                  <a:pt x="204" y="86"/>
                </a:lnTo>
                <a:lnTo>
                  <a:pt x="203" y="84"/>
                </a:lnTo>
                <a:lnTo>
                  <a:pt x="202" y="83"/>
                </a:lnTo>
                <a:lnTo>
                  <a:pt x="202" y="83"/>
                </a:lnTo>
                <a:lnTo>
                  <a:pt x="201" y="82"/>
                </a:lnTo>
                <a:lnTo>
                  <a:pt x="199" y="81"/>
                </a:lnTo>
                <a:lnTo>
                  <a:pt x="197" y="82"/>
                </a:lnTo>
                <a:lnTo>
                  <a:pt x="196" y="83"/>
                </a:lnTo>
                <a:lnTo>
                  <a:pt x="196" y="83"/>
                </a:lnTo>
                <a:close/>
                <a:moveTo>
                  <a:pt x="152" y="145"/>
                </a:moveTo>
                <a:lnTo>
                  <a:pt x="152" y="145"/>
                </a:lnTo>
                <a:lnTo>
                  <a:pt x="148" y="148"/>
                </a:lnTo>
                <a:lnTo>
                  <a:pt x="145" y="148"/>
                </a:lnTo>
                <a:lnTo>
                  <a:pt x="141" y="148"/>
                </a:lnTo>
                <a:lnTo>
                  <a:pt x="138" y="145"/>
                </a:lnTo>
                <a:lnTo>
                  <a:pt x="138" y="145"/>
                </a:lnTo>
                <a:lnTo>
                  <a:pt x="136" y="142"/>
                </a:lnTo>
                <a:lnTo>
                  <a:pt x="135" y="139"/>
                </a:lnTo>
                <a:lnTo>
                  <a:pt x="135" y="139"/>
                </a:lnTo>
                <a:lnTo>
                  <a:pt x="136" y="135"/>
                </a:lnTo>
                <a:lnTo>
                  <a:pt x="138" y="132"/>
                </a:lnTo>
                <a:lnTo>
                  <a:pt x="138" y="132"/>
                </a:lnTo>
                <a:lnTo>
                  <a:pt x="141" y="130"/>
                </a:lnTo>
                <a:lnTo>
                  <a:pt x="145" y="129"/>
                </a:lnTo>
                <a:lnTo>
                  <a:pt x="145" y="129"/>
                </a:lnTo>
                <a:lnTo>
                  <a:pt x="148" y="130"/>
                </a:lnTo>
                <a:lnTo>
                  <a:pt x="152" y="132"/>
                </a:lnTo>
                <a:lnTo>
                  <a:pt x="152" y="132"/>
                </a:lnTo>
                <a:lnTo>
                  <a:pt x="154" y="135"/>
                </a:lnTo>
                <a:lnTo>
                  <a:pt x="154" y="139"/>
                </a:lnTo>
                <a:lnTo>
                  <a:pt x="154" y="139"/>
                </a:lnTo>
                <a:lnTo>
                  <a:pt x="154" y="142"/>
                </a:lnTo>
                <a:lnTo>
                  <a:pt x="152" y="145"/>
                </a:lnTo>
                <a:lnTo>
                  <a:pt x="152" y="14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58">
            <a:extLst>
              <a:ext uri="{FF2B5EF4-FFF2-40B4-BE49-F238E27FC236}">
                <a16:creationId xmlns:a16="http://schemas.microsoft.com/office/drawing/2014/main" id="{6B13DBA9-9B62-4559-8B54-319DE69DF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564015" y="2540852"/>
            <a:ext cx="454025" cy="420688"/>
          </a:xfrm>
          <a:custGeom>
            <a:avLst/>
            <a:gdLst>
              <a:gd name="T0" fmla="*/ 283 w 286"/>
              <a:gd name="T1" fmla="*/ 62 h 265"/>
              <a:gd name="T2" fmla="*/ 269 w 286"/>
              <a:gd name="T3" fmla="*/ 34 h 265"/>
              <a:gd name="T4" fmla="*/ 248 w 286"/>
              <a:gd name="T5" fmla="*/ 13 h 265"/>
              <a:gd name="T6" fmla="*/ 222 w 286"/>
              <a:gd name="T7" fmla="*/ 1 h 265"/>
              <a:gd name="T8" fmla="*/ 197 w 286"/>
              <a:gd name="T9" fmla="*/ 0 h 265"/>
              <a:gd name="T10" fmla="*/ 161 w 286"/>
              <a:gd name="T11" fmla="*/ 15 h 265"/>
              <a:gd name="T12" fmla="*/ 142 w 286"/>
              <a:gd name="T13" fmla="*/ 38 h 265"/>
              <a:gd name="T14" fmla="*/ 114 w 286"/>
              <a:gd name="T15" fmla="*/ 10 h 265"/>
              <a:gd name="T16" fmla="*/ 78 w 286"/>
              <a:gd name="T17" fmla="*/ 0 h 265"/>
              <a:gd name="T18" fmla="*/ 56 w 286"/>
              <a:gd name="T19" fmla="*/ 3 h 265"/>
              <a:gd name="T20" fmla="*/ 31 w 286"/>
              <a:gd name="T21" fmla="*/ 17 h 265"/>
              <a:gd name="T22" fmla="*/ 12 w 286"/>
              <a:gd name="T23" fmla="*/ 40 h 265"/>
              <a:gd name="T24" fmla="*/ 2 w 286"/>
              <a:gd name="T25" fmla="*/ 70 h 265"/>
              <a:gd name="T26" fmla="*/ 1 w 286"/>
              <a:gd name="T27" fmla="*/ 97 h 265"/>
              <a:gd name="T28" fmla="*/ 9 w 286"/>
              <a:gd name="T29" fmla="*/ 127 h 265"/>
              <a:gd name="T30" fmla="*/ 29 w 286"/>
              <a:gd name="T31" fmla="*/ 160 h 265"/>
              <a:gd name="T32" fmla="*/ 243 w 286"/>
              <a:gd name="T33" fmla="*/ 175 h 265"/>
              <a:gd name="T34" fmla="*/ 262 w 286"/>
              <a:gd name="T35" fmla="*/ 152 h 265"/>
              <a:gd name="T36" fmla="*/ 280 w 286"/>
              <a:gd name="T37" fmla="*/ 118 h 265"/>
              <a:gd name="T38" fmla="*/ 286 w 286"/>
              <a:gd name="T39" fmla="*/ 88 h 265"/>
              <a:gd name="T40" fmla="*/ 271 w 286"/>
              <a:gd name="T41" fmla="*/ 106 h 265"/>
              <a:gd name="T42" fmla="*/ 258 w 286"/>
              <a:gd name="T43" fmla="*/ 139 h 265"/>
              <a:gd name="T44" fmla="*/ 235 w 286"/>
              <a:gd name="T45" fmla="*/ 166 h 265"/>
              <a:gd name="T46" fmla="*/ 43 w 286"/>
              <a:gd name="T47" fmla="*/ 160 h 265"/>
              <a:gd name="T48" fmla="*/ 23 w 286"/>
              <a:gd name="T49" fmla="*/ 131 h 265"/>
              <a:gd name="T50" fmla="*/ 14 w 286"/>
              <a:gd name="T51" fmla="*/ 106 h 265"/>
              <a:gd name="T52" fmla="*/ 11 w 286"/>
              <a:gd name="T53" fmla="*/ 80 h 265"/>
              <a:gd name="T54" fmla="*/ 25 w 286"/>
              <a:gd name="T55" fmla="*/ 40 h 265"/>
              <a:gd name="T56" fmla="*/ 53 w 286"/>
              <a:gd name="T57" fmla="*/ 16 h 265"/>
              <a:gd name="T58" fmla="*/ 78 w 286"/>
              <a:gd name="T59" fmla="*/ 11 h 265"/>
              <a:gd name="T60" fmla="*/ 105 w 286"/>
              <a:gd name="T61" fmla="*/ 17 h 265"/>
              <a:gd name="T62" fmla="*/ 132 w 286"/>
              <a:gd name="T63" fmla="*/ 43 h 265"/>
              <a:gd name="T64" fmla="*/ 147 w 286"/>
              <a:gd name="T65" fmla="*/ 52 h 265"/>
              <a:gd name="T66" fmla="*/ 171 w 286"/>
              <a:gd name="T67" fmla="*/ 22 h 265"/>
              <a:gd name="T68" fmla="*/ 207 w 286"/>
              <a:gd name="T69" fmla="*/ 11 h 265"/>
              <a:gd name="T70" fmla="*/ 226 w 286"/>
              <a:gd name="T71" fmla="*/ 14 h 265"/>
              <a:gd name="T72" fmla="*/ 248 w 286"/>
              <a:gd name="T73" fmla="*/ 26 h 265"/>
              <a:gd name="T74" fmla="*/ 271 w 286"/>
              <a:gd name="T75" fmla="*/ 66 h 265"/>
              <a:gd name="T76" fmla="*/ 274 w 286"/>
              <a:gd name="T77" fmla="*/ 95 h 265"/>
              <a:gd name="T78" fmla="*/ 93 w 286"/>
              <a:gd name="T79" fmla="*/ 38 h 265"/>
              <a:gd name="T80" fmla="*/ 88 w 286"/>
              <a:gd name="T81" fmla="*/ 44 h 265"/>
              <a:gd name="T82" fmla="*/ 63 w 286"/>
              <a:gd name="T83" fmla="*/ 51 h 265"/>
              <a:gd name="T84" fmla="*/ 45 w 286"/>
              <a:gd name="T85" fmla="*/ 79 h 265"/>
              <a:gd name="T86" fmla="*/ 42 w 286"/>
              <a:gd name="T87" fmla="*/ 92 h 265"/>
              <a:gd name="T88" fmla="*/ 36 w 286"/>
              <a:gd name="T89" fmla="*/ 93 h 265"/>
              <a:gd name="T90" fmla="*/ 33 w 286"/>
              <a:gd name="T91" fmla="*/ 88 h 265"/>
              <a:gd name="T92" fmla="*/ 49 w 286"/>
              <a:gd name="T93" fmla="*/ 49 h 265"/>
              <a:gd name="T94" fmla="*/ 88 w 286"/>
              <a:gd name="T95" fmla="*/ 33 h 265"/>
              <a:gd name="T96" fmla="*/ 93 w 286"/>
              <a:gd name="T97" fmla="*/ 36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6" h="265">
                <a:moveTo>
                  <a:pt x="285" y="79"/>
                </a:moveTo>
                <a:lnTo>
                  <a:pt x="285" y="79"/>
                </a:lnTo>
                <a:lnTo>
                  <a:pt x="284" y="70"/>
                </a:lnTo>
                <a:lnTo>
                  <a:pt x="283" y="62"/>
                </a:lnTo>
                <a:lnTo>
                  <a:pt x="280" y="54"/>
                </a:lnTo>
                <a:lnTo>
                  <a:pt x="277" y="47"/>
                </a:lnTo>
                <a:lnTo>
                  <a:pt x="274" y="40"/>
                </a:lnTo>
                <a:lnTo>
                  <a:pt x="269" y="34"/>
                </a:lnTo>
                <a:lnTo>
                  <a:pt x="264" y="28"/>
                </a:lnTo>
                <a:lnTo>
                  <a:pt x="260" y="22"/>
                </a:lnTo>
                <a:lnTo>
                  <a:pt x="254" y="17"/>
                </a:lnTo>
                <a:lnTo>
                  <a:pt x="248" y="13"/>
                </a:lnTo>
                <a:lnTo>
                  <a:pt x="242" y="9"/>
                </a:lnTo>
                <a:lnTo>
                  <a:pt x="236" y="6"/>
                </a:lnTo>
                <a:lnTo>
                  <a:pt x="229" y="3"/>
                </a:lnTo>
                <a:lnTo>
                  <a:pt x="222" y="1"/>
                </a:lnTo>
                <a:lnTo>
                  <a:pt x="215" y="0"/>
                </a:lnTo>
                <a:lnTo>
                  <a:pt x="207" y="0"/>
                </a:lnTo>
                <a:lnTo>
                  <a:pt x="207" y="0"/>
                </a:lnTo>
                <a:lnTo>
                  <a:pt x="197" y="0"/>
                </a:lnTo>
                <a:lnTo>
                  <a:pt x="188" y="2"/>
                </a:lnTo>
                <a:lnTo>
                  <a:pt x="178" y="6"/>
                </a:lnTo>
                <a:lnTo>
                  <a:pt x="170" y="10"/>
                </a:lnTo>
                <a:lnTo>
                  <a:pt x="161" y="15"/>
                </a:lnTo>
                <a:lnTo>
                  <a:pt x="154" y="22"/>
                </a:lnTo>
                <a:lnTo>
                  <a:pt x="147" y="29"/>
                </a:lnTo>
                <a:lnTo>
                  <a:pt x="142" y="38"/>
                </a:lnTo>
                <a:lnTo>
                  <a:pt x="142" y="38"/>
                </a:lnTo>
                <a:lnTo>
                  <a:pt x="136" y="29"/>
                </a:lnTo>
                <a:lnTo>
                  <a:pt x="130" y="22"/>
                </a:lnTo>
                <a:lnTo>
                  <a:pt x="122" y="15"/>
                </a:lnTo>
                <a:lnTo>
                  <a:pt x="114" y="10"/>
                </a:lnTo>
                <a:lnTo>
                  <a:pt x="106" y="5"/>
                </a:lnTo>
                <a:lnTo>
                  <a:pt x="97" y="2"/>
                </a:lnTo>
                <a:lnTo>
                  <a:pt x="87" y="0"/>
                </a:lnTo>
                <a:lnTo>
                  <a:pt x="78" y="0"/>
                </a:lnTo>
                <a:lnTo>
                  <a:pt x="78" y="0"/>
                </a:lnTo>
                <a:lnTo>
                  <a:pt x="70" y="0"/>
                </a:lnTo>
                <a:lnTo>
                  <a:pt x="63" y="1"/>
                </a:lnTo>
                <a:lnTo>
                  <a:pt x="56" y="3"/>
                </a:lnTo>
                <a:lnTo>
                  <a:pt x="49" y="6"/>
                </a:lnTo>
                <a:lnTo>
                  <a:pt x="43" y="9"/>
                </a:lnTo>
                <a:lnTo>
                  <a:pt x="37" y="13"/>
                </a:lnTo>
                <a:lnTo>
                  <a:pt x="31" y="17"/>
                </a:lnTo>
                <a:lnTo>
                  <a:pt x="25" y="22"/>
                </a:lnTo>
                <a:lnTo>
                  <a:pt x="21" y="28"/>
                </a:lnTo>
                <a:lnTo>
                  <a:pt x="16" y="34"/>
                </a:lnTo>
                <a:lnTo>
                  <a:pt x="12" y="40"/>
                </a:lnTo>
                <a:lnTo>
                  <a:pt x="9" y="47"/>
                </a:lnTo>
                <a:lnTo>
                  <a:pt x="6" y="54"/>
                </a:lnTo>
                <a:lnTo>
                  <a:pt x="3" y="62"/>
                </a:lnTo>
                <a:lnTo>
                  <a:pt x="2" y="70"/>
                </a:lnTo>
                <a:lnTo>
                  <a:pt x="1" y="79"/>
                </a:lnTo>
                <a:lnTo>
                  <a:pt x="1" y="79"/>
                </a:lnTo>
                <a:lnTo>
                  <a:pt x="0" y="88"/>
                </a:lnTo>
                <a:lnTo>
                  <a:pt x="1" y="97"/>
                </a:lnTo>
                <a:lnTo>
                  <a:pt x="3" y="109"/>
                </a:lnTo>
                <a:lnTo>
                  <a:pt x="3" y="109"/>
                </a:lnTo>
                <a:lnTo>
                  <a:pt x="6" y="118"/>
                </a:lnTo>
                <a:lnTo>
                  <a:pt x="9" y="127"/>
                </a:lnTo>
                <a:lnTo>
                  <a:pt x="13" y="136"/>
                </a:lnTo>
                <a:lnTo>
                  <a:pt x="17" y="144"/>
                </a:lnTo>
                <a:lnTo>
                  <a:pt x="23" y="152"/>
                </a:lnTo>
                <a:lnTo>
                  <a:pt x="29" y="160"/>
                </a:lnTo>
                <a:lnTo>
                  <a:pt x="35" y="168"/>
                </a:lnTo>
                <a:lnTo>
                  <a:pt x="42" y="174"/>
                </a:lnTo>
                <a:lnTo>
                  <a:pt x="142" y="265"/>
                </a:lnTo>
                <a:lnTo>
                  <a:pt x="243" y="175"/>
                </a:lnTo>
                <a:lnTo>
                  <a:pt x="243" y="175"/>
                </a:lnTo>
                <a:lnTo>
                  <a:pt x="250" y="168"/>
                </a:lnTo>
                <a:lnTo>
                  <a:pt x="256" y="160"/>
                </a:lnTo>
                <a:lnTo>
                  <a:pt x="262" y="152"/>
                </a:lnTo>
                <a:lnTo>
                  <a:pt x="268" y="144"/>
                </a:lnTo>
                <a:lnTo>
                  <a:pt x="273" y="136"/>
                </a:lnTo>
                <a:lnTo>
                  <a:pt x="277" y="127"/>
                </a:lnTo>
                <a:lnTo>
                  <a:pt x="280" y="118"/>
                </a:lnTo>
                <a:lnTo>
                  <a:pt x="283" y="109"/>
                </a:lnTo>
                <a:lnTo>
                  <a:pt x="283" y="109"/>
                </a:lnTo>
                <a:lnTo>
                  <a:pt x="285" y="97"/>
                </a:lnTo>
                <a:lnTo>
                  <a:pt x="286" y="88"/>
                </a:lnTo>
                <a:lnTo>
                  <a:pt x="285" y="79"/>
                </a:lnTo>
                <a:lnTo>
                  <a:pt x="285" y="79"/>
                </a:lnTo>
                <a:close/>
                <a:moveTo>
                  <a:pt x="271" y="106"/>
                </a:moveTo>
                <a:lnTo>
                  <a:pt x="271" y="106"/>
                </a:lnTo>
                <a:lnTo>
                  <a:pt x="269" y="115"/>
                </a:lnTo>
                <a:lnTo>
                  <a:pt x="266" y="123"/>
                </a:lnTo>
                <a:lnTo>
                  <a:pt x="262" y="131"/>
                </a:lnTo>
                <a:lnTo>
                  <a:pt x="258" y="139"/>
                </a:lnTo>
                <a:lnTo>
                  <a:pt x="253" y="146"/>
                </a:lnTo>
                <a:lnTo>
                  <a:pt x="248" y="153"/>
                </a:lnTo>
                <a:lnTo>
                  <a:pt x="242" y="160"/>
                </a:lnTo>
                <a:lnTo>
                  <a:pt x="235" y="166"/>
                </a:lnTo>
                <a:lnTo>
                  <a:pt x="142" y="250"/>
                </a:lnTo>
                <a:lnTo>
                  <a:pt x="50" y="166"/>
                </a:lnTo>
                <a:lnTo>
                  <a:pt x="50" y="166"/>
                </a:lnTo>
                <a:lnTo>
                  <a:pt x="43" y="160"/>
                </a:lnTo>
                <a:lnTo>
                  <a:pt x="37" y="153"/>
                </a:lnTo>
                <a:lnTo>
                  <a:pt x="32" y="146"/>
                </a:lnTo>
                <a:lnTo>
                  <a:pt x="27" y="139"/>
                </a:lnTo>
                <a:lnTo>
                  <a:pt x="23" y="131"/>
                </a:lnTo>
                <a:lnTo>
                  <a:pt x="19" y="123"/>
                </a:lnTo>
                <a:lnTo>
                  <a:pt x="16" y="115"/>
                </a:lnTo>
                <a:lnTo>
                  <a:pt x="14" y="106"/>
                </a:lnTo>
                <a:lnTo>
                  <a:pt x="14" y="106"/>
                </a:lnTo>
                <a:lnTo>
                  <a:pt x="12" y="95"/>
                </a:lnTo>
                <a:lnTo>
                  <a:pt x="11" y="87"/>
                </a:lnTo>
                <a:lnTo>
                  <a:pt x="11" y="80"/>
                </a:lnTo>
                <a:lnTo>
                  <a:pt x="11" y="80"/>
                </a:lnTo>
                <a:lnTo>
                  <a:pt x="11" y="80"/>
                </a:lnTo>
                <a:lnTo>
                  <a:pt x="14" y="65"/>
                </a:lnTo>
                <a:lnTo>
                  <a:pt x="18" y="52"/>
                </a:lnTo>
                <a:lnTo>
                  <a:pt x="25" y="40"/>
                </a:lnTo>
                <a:lnTo>
                  <a:pt x="33" y="30"/>
                </a:lnTo>
                <a:lnTo>
                  <a:pt x="42" y="22"/>
                </a:lnTo>
                <a:lnTo>
                  <a:pt x="48" y="19"/>
                </a:lnTo>
                <a:lnTo>
                  <a:pt x="53" y="16"/>
                </a:lnTo>
                <a:lnTo>
                  <a:pt x="59" y="14"/>
                </a:lnTo>
                <a:lnTo>
                  <a:pt x="65" y="12"/>
                </a:lnTo>
                <a:lnTo>
                  <a:pt x="71" y="11"/>
                </a:lnTo>
                <a:lnTo>
                  <a:pt x="78" y="11"/>
                </a:lnTo>
                <a:lnTo>
                  <a:pt x="78" y="11"/>
                </a:lnTo>
                <a:lnTo>
                  <a:pt x="87" y="11"/>
                </a:lnTo>
                <a:lnTo>
                  <a:pt x="96" y="14"/>
                </a:lnTo>
                <a:lnTo>
                  <a:pt x="105" y="17"/>
                </a:lnTo>
                <a:lnTo>
                  <a:pt x="113" y="22"/>
                </a:lnTo>
                <a:lnTo>
                  <a:pt x="120" y="28"/>
                </a:lnTo>
                <a:lnTo>
                  <a:pt x="127" y="35"/>
                </a:lnTo>
                <a:lnTo>
                  <a:pt x="132" y="43"/>
                </a:lnTo>
                <a:lnTo>
                  <a:pt x="137" y="52"/>
                </a:lnTo>
                <a:lnTo>
                  <a:pt x="142" y="64"/>
                </a:lnTo>
                <a:lnTo>
                  <a:pt x="147" y="52"/>
                </a:lnTo>
                <a:lnTo>
                  <a:pt x="147" y="52"/>
                </a:lnTo>
                <a:lnTo>
                  <a:pt x="151" y="43"/>
                </a:lnTo>
                <a:lnTo>
                  <a:pt x="157" y="35"/>
                </a:lnTo>
                <a:lnTo>
                  <a:pt x="164" y="28"/>
                </a:lnTo>
                <a:lnTo>
                  <a:pt x="171" y="22"/>
                </a:lnTo>
                <a:lnTo>
                  <a:pt x="179" y="17"/>
                </a:lnTo>
                <a:lnTo>
                  <a:pt x="188" y="14"/>
                </a:lnTo>
                <a:lnTo>
                  <a:pt x="198" y="11"/>
                </a:lnTo>
                <a:lnTo>
                  <a:pt x="207" y="11"/>
                </a:lnTo>
                <a:lnTo>
                  <a:pt x="207" y="11"/>
                </a:lnTo>
                <a:lnTo>
                  <a:pt x="214" y="11"/>
                </a:lnTo>
                <a:lnTo>
                  <a:pt x="220" y="12"/>
                </a:lnTo>
                <a:lnTo>
                  <a:pt x="226" y="14"/>
                </a:lnTo>
                <a:lnTo>
                  <a:pt x="232" y="16"/>
                </a:lnTo>
                <a:lnTo>
                  <a:pt x="237" y="19"/>
                </a:lnTo>
                <a:lnTo>
                  <a:pt x="243" y="22"/>
                </a:lnTo>
                <a:lnTo>
                  <a:pt x="248" y="26"/>
                </a:lnTo>
                <a:lnTo>
                  <a:pt x="252" y="30"/>
                </a:lnTo>
                <a:lnTo>
                  <a:pt x="260" y="40"/>
                </a:lnTo>
                <a:lnTo>
                  <a:pt x="267" y="52"/>
                </a:lnTo>
                <a:lnTo>
                  <a:pt x="271" y="66"/>
                </a:lnTo>
                <a:lnTo>
                  <a:pt x="275" y="80"/>
                </a:lnTo>
                <a:lnTo>
                  <a:pt x="275" y="80"/>
                </a:lnTo>
                <a:lnTo>
                  <a:pt x="275" y="87"/>
                </a:lnTo>
                <a:lnTo>
                  <a:pt x="274" y="95"/>
                </a:lnTo>
                <a:lnTo>
                  <a:pt x="271" y="106"/>
                </a:lnTo>
                <a:lnTo>
                  <a:pt x="271" y="106"/>
                </a:lnTo>
                <a:close/>
                <a:moveTo>
                  <a:pt x="93" y="38"/>
                </a:moveTo>
                <a:lnTo>
                  <a:pt x="93" y="38"/>
                </a:lnTo>
                <a:lnTo>
                  <a:pt x="93" y="41"/>
                </a:lnTo>
                <a:lnTo>
                  <a:pt x="92" y="42"/>
                </a:lnTo>
                <a:lnTo>
                  <a:pt x="90" y="44"/>
                </a:lnTo>
                <a:lnTo>
                  <a:pt x="88" y="44"/>
                </a:lnTo>
                <a:lnTo>
                  <a:pt x="88" y="44"/>
                </a:lnTo>
                <a:lnTo>
                  <a:pt x="79" y="45"/>
                </a:lnTo>
                <a:lnTo>
                  <a:pt x="71" y="47"/>
                </a:lnTo>
                <a:lnTo>
                  <a:pt x="63" y="51"/>
                </a:lnTo>
                <a:lnTo>
                  <a:pt x="57" y="57"/>
                </a:lnTo>
                <a:lnTo>
                  <a:pt x="51" y="63"/>
                </a:lnTo>
                <a:lnTo>
                  <a:pt x="47" y="71"/>
                </a:lnTo>
                <a:lnTo>
                  <a:pt x="45" y="79"/>
                </a:lnTo>
                <a:lnTo>
                  <a:pt x="44" y="88"/>
                </a:lnTo>
                <a:lnTo>
                  <a:pt x="44" y="88"/>
                </a:lnTo>
                <a:lnTo>
                  <a:pt x="43" y="90"/>
                </a:lnTo>
                <a:lnTo>
                  <a:pt x="42" y="92"/>
                </a:lnTo>
                <a:lnTo>
                  <a:pt x="41" y="93"/>
                </a:lnTo>
                <a:lnTo>
                  <a:pt x="38" y="93"/>
                </a:lnTo>
                <a:lnTo>
                  <a:pt x="38" y="93"/>
                </a:lnTo>
                <a:lnTo>
                  <a:pt x="36" y="93"/>
                </a:lnTo>
                <a:lnTo>
                  <a:pt x="35" y="92"/>
                </a:lnTo>
                <a:lnTo>
                  <a:pt x="33" y="90"/>
                </a:lnTo>
                <a:lnTo>
                  <a:pt x="33" y="88"/>
                </a:lnTo>
                <a:lnTo>
                  <a:pt x="33" y="88"/>
                </a:lnTo>
                <a:lnTo>
                  <a:pt x="34" y="77"/>
                </a:lnTo>
                <a:lnTo>
                  <a:pt x="37" y="66"/>
                </a:lnTo>
                <a:lnTo>
                  <a:pt x="42" y="57"/>
                </a:lnTo>
                <a:lnTo>
                  <a:pt x="49" y="49"/>
                </a:lnTo>
                <a:lnTo>
                  <a:pt x="57" y="42"/>
                </a:lnTo>
                <a:lnTo>
                  <a:pt x="66" y="37"/>
                </a:lnTo>
                <a:lnTo>
                  <a:pt x="77" y="34"/>
                </a:lnTo>
                <a:lnTo>
                  <a:pt x="88" y="33"/>
                </a:lnTo>
                <a:lnTo>
                  <a:pt x="88" y="33"/>
                </a:lnTo>
                <a:lnTo>
                  <a:pt x="90" y="33"/>
                </a:lnTo>
                <a:lnTo>
                  <a:pt x="92" y="35"/>
                </a:lnTo>
                <a:lnTo>
                  <a:pt x="93" y="36"/>
                </a:lnTo>
                <a:lnTo>
                  <a:pt x="93" y="38"/>
                </a:lnTo>
                <a:lnTo>
                  <a:pt x="93" y="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8">
            <a:extLst>
              <a:ext uri="{FF2B5EF4-FFF2-40B4-BE49-F238E27FC236}">
                <a16:creationId xmlns:a16="http://schemas.microsoft.com/office/drawing/2014/main" id="{E10D696D-08E3-45E1-B449-4652A0E9CD3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397980" y="2523390"/>
            <a:ext cx="373062" cy="455613"/>
          </a:xfrm>
          <a:custGeom>
            <a:avLst/>
            <a:gdLst>
              <a:gd name="T0" fmla="*/ 202 w 235"/>
              <a:gd name="T1" fmla="*/ 69 h 287"/>
              <a:gd name="T2" fmla="*/ 192 w 235"/>
              <a:gd name="T3" fmla="*/ 40 h 287"/>
              <a:gd name="T4" fmla="*/ 172 w 235"/>
              <a:gd name="T5" fmla="*/ 17 h 287"/>
              <a:gd name="T6" fmla="*/ 143 w 235"/>
              <a:gd name="T7" fmla="*/ 3 h 287"/>
              <a:gd name="T8" fmla="*/ 117 w 235"/>
              <a:gd name="T9" fmla="*/ 0 h 287"/>
              <a:gd name="T10" fmla="*/ 84 w 235"/>
              <a:gd name="T11" fmla="*/ 6 h 287"/>
              <a:gd name="T12" fmla="*/ 57 w 235"/>
              <a:gd name="T13" fmla="*/ 22 h 287"/>
              <a:gd name="T14" fmla="*/ 39 w 235"/>
              <a:gd name="T15" fmla="*/ 47 h 287"/>
              <a:gd name="T16" fmla="*/ 32 w 235"/>
              <a:gd name="T17" fmla="*/ 77 h 287"/>
              <a:gd name="T18" fmla="*/ 20 w 235"/>
              <a:gd name="T19" fmla="*/ 111 h 287"/>
              <a:gd name="T20" fmla="*/ 3 w 235"/>
              <a:gd name="T21" fmla="*/ 131 h 287"/>
              <a:gd name="T22" fmla="*/ 0 w 235"/>
              <a:gd name="T23" fmla="*/ 249 h 287"/>
              <a:gd name="T24" fmla="*/ 12 w 235"/>
              <a:gd name="T25" fmla="*/ 276 h 287"/>
              <a:gd name="T26" fmla="*/ 39 w 235"/>
              <a:gd name="T27" fmla="*/ 287 h 287"/>
              <a:gd name="T28" fmla="*/ 211 w 235"/>
              <a:gd name="T29" fmla="*/ 284 h 287"/>
              <a:gd name="T30" fmla="*/ 232 w 235"/>
              <a:gd name="T31" fmla="*/ 264 h 287"/>
              <a:gd name="T32" fmla="*/ 235 w 235"/>
              <a:gd name="T33" fmla="*/ 145 h 287"/>
              <a:gd name="T34" fmla="*/ 225 w 235"/>
              <a:gd name="T35" fmla="*/ 120 h 287"/>
              <a:gd name="T36" fmla="*/ 203 w 235"/>
              <a:gd name="T37" fmla="*/ 107 h 287"/>
              <a:gd name="T38" fmla="*/ 43 w 235"/>
              <a:gd name="T39" fmla="*/ 70 h 287"/>
              <a:gd name="T40" fmla="*/ 52 w 235"/>
              <a:gd name="T41" fmla="*/ 45 h 287"/>
              <a:gd name="T42" fmla="*/ 70 w 235"/>
              <a:gd name="T43" fmla="*/ 26 h 287"/>
              <a:gd name="T44" fmla="*/ 95 w 235"/>
              <a:gd name="T45" fmla="*/ 13 h 287"/>
              <a:gd name="T46" fmla="*/ 117 w 235"/>
              <a:gd name="T47" fmla="*/ 10 h 287"/>
              <a:gd name="T48" fmla="*/ 146 w 235"/>
              <a:gd name="T49" fmla="*/ 16 h 287"/>
              <a:gd name="T50" fmla="*/ 170 w 235"/>
              <a:gd name="T51" fmla="*/ 30 h 287"/>
              <a:gd name="T52" fmla="*/ 186 w 235"/>
              <a:gd name="T53" fmla="*/ 51 h 287"/>
              <a:gd name="T54" fmla="*/ 192 w 235"/>
              <a:gd name="T55" fmla="*/ 77 h 287"/>
              <a:gd name="T56" fmla="*/ 224 w 235"/>
              <a:gd name="T57" fmla="*/ 249 h 287"/>
              <a:gd name="T58" fmla="*/ 219 w 235"/>
              <a:gd name="T59" fmla="*/ 264 h 287"/>
              <a:gd name="T60" fmla="*/ 202 w 235"/>
              <a:gd name="T61" fmla="*/ 276 h 287"/>
              <a:gd name="T62" fmla="*/ 33 w 235"/>
              <a:gd name="T63" fmla="*/ 276 h 287"/>
              <a:gd name="T64" fmla="*/ 16 w 235"/>
              <a:gd name="T65" fmla="*/ 264 h 287"/>
              <a:gd name="T66" fmla="*/ 11 w 235"/>
              <a:gd name="T67" fmla="*/ 145 h 287"/>
              <a:gd name="T68" fmla="*/ 16 w 235"/>
              <a:gd name="T69" fmla="*/ 129 h 287"/>
              <a:gd name="T70" fmla="*/ 33 w 235"/>
              <a:gd name="T71" fmla="*/ 117 h 287"/>
              <a:gd name="T72" fmla="*/ 202 w 235"/>
              <a:gd name="T73" fmla="*/ 117 h 287"/>
              <a:gd name="T74" fmla="*/ 219 w 235"/>
              <a:gd name="T75" fmla="*/ 129 h 287"/>
              <a:gd name="T76" fmla="*/ 224 w 235"/>
              <a:gd name="T77" fmla="*/ 249 h 287"/>
              <a:gd name="T78" fmla="*/ 109 w 235"/>
              <a:gd name="T79" fmla="*/ 150 h 287"/>
              <a:gd name="T80" fmla="*/ 98 w 235"/>
              <a:gd name="T81" fmla="*/ 162 h 287"/>
              <a:gd name="T82" fmla="*/ 96 w 235"/>
              <a:gd name="T83" fmla="*/ 202 h 287"/>
              <a:gd name="T84" fmla="*/ 102 w 235"/>
              <a:gd name="T85" fmla="*/ 217 h 287"/>
              <a:gd name="T86" fmla="*/ 117 w 235"/>
              <a:gd name="T87" fmla="*/ 223 h 287"/>
              <a:gd name="T88" fmla="*/ 129 w 235"/>
              <a:gd name="T89" fmla="*/ 220 h 287"/>
              <a:gd name="T90" fmla="*/ 138 w 235"/>
              <a:gd name="T91" fmla="*/ 206 h 287"/>
              <a:gd name="T92" fmla="*/ 138 w 235"/>
              <a:gd name="T93" fmla="*/ 166 h 287"/>
              <a:gd name="T94" fmla="*/ 129 w 235"/>
              <a:gd name="T95" fmla="*/ 152 h 287"/>
              <a:gd name="T96" fmla="*/ 117 w 235"/>
              <a:gd name="T97" fmla="*/ 149 h 287"/>
              <a:gd name="T98" fmla="*/ 125 w 235"/>
              <a:gd name="T99" fmla="*/ 210 h 287"/>
              <a:gd name="T100" fmla="*/ 113 w 235"/>
              <a:gd name="T101" fmla="*/ 212 h 287"/>
              <a:gd name="T102" fmla="*/ 107 w 235"/>
              <a:gd name="T103" fmla="*/ 170 h 287"/>
              <a:gd name="T104" fmla="*/ 113 w 235"/>
              <a:gd name="T105" fmla="*/ 160 h 287"/>
              <a:gd name="T106" fmla="*/ 125 w 235"/>
              <a:gd name="T107" fmla="*/ 163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5" h="287">
                <a:moveTo>
                  <a:pt x="203" y="107"/>
                </a:moveTo>
                <a:lnTo>
                  <a:pt x="203" y="77"/>
                </a:lnTo>
                <a:lnTo>
                  <a:pt x="203" y="77"/>
                </a:lnTo>
                <a:lnTo>
                  <a:pt x="202" y="69"/>
                </a:lnTo>
                <a:lnTo>
                  <a:pt x="201" y="61"/>
                </a:lnTo>
                <a:lnTo>
                  <a:pt x="199" y="54"/>
                </a:lnTo>
                <a:lnTo>
                  <a:pt x="196" y="47"/>
                </a:lnTo>
                <a:lnTo>
                  <a:pt x="192" y="40"/>
                </a:lnTo>
                <a:lnTo>
                  <a:pt x="188" y="34"/>
                </a:lnTo>
                <a:lnTo>
                  <a:pt x="183" y="28"/>
                </a:lnTo>
                <a:lnTo>
                  <a:pt x="178" y="22"/>
                </a:lnTo>
                <a:lnTo>
                  <a:pt x="172" y="17"/>
                </a:lnTo>
                <a:lnTo>
                  <a:pt x="165" y="13"/>
                </a:lnTo>
                <a:lnTo>
                  <a:pt x="158" y="9"/>
                </a:lnTo>
                <a:lnTo>
                  <a:pt x="151" y="6"/>
                </a:lnTo>
                <a:lnTo>
                  <a:pt x="143" y="3"/>
                </a:lnTo>
                <a:lnTo>
                  <a:pt x="135" y="1"/>
                </a:lnTo>
                <a:lnTo>
                  <a:pt x="126" y="0"/>
                </a:lnTo>
                <a:lnTo>
                  <a:pt x="117" y="0"/>
                </a:lnTo>
                <a:lnTo>
                  <a:pt x="117" y="0"/>
                </a:lnTo>
                <a:lnTo>
                  <a:pt x="109" y="0"/>
                </a:lnTo>
                <a:lnTo>
                  <a:pt x="100" y="1"/>
                </a:lnTo>
                <a:lnTo>
                  <a:pt x="92" y="3"/>
                </a:lnTo>
                <a:lnTo>
                  <a:pt x="84" y="6"/>
                </a:lnTo>
                <a:lnTo>
                  <a:pt x="77" y="9"/>
                </a:lnTo>
                <a:lnTo>
                  <a:pt x="70" y="13"/>
                </a:lnTo>
                <a:lnTo>
                  <a:pt x="63" y="17"/>
                </a:lnTo>
                <a:lnTo>
                  <a:pt x="57" y="22"/>
                </a:lnTo>
                <a:lnTo>
                  <a:pt x="52" y="28"/>
                </a:lnTo>
                <a:lnTo>
                  <a:pt x="47" y="34"/>
                </a:lnTo>
                <a:lnTo>
                  <a:pt x="43" y="40"/>
                </a:lnTo>
                <a:lnTo>
                  <a:pt x="39" y="47"/>
                </a:lnTo>
                <a:lnTo>
                  <a:pt x="36" y="54"/>
                </a:lnTo>
                <a:lnTo>
                  <a:pt x="34" y="61"/>
                </a:lnTo>
                <a:lnTo>
                  <a:pt x="33" y="69"/>
                </a:lnTo>
                <a:lnTo>
                  <a:pt x="32" y="77"/>
                </a:lnTo>
                <a:lnTo>
                  <a:pt x="32" y="107"/>
                </a:lnTo>
                <a:lnTo>
                  <a:pt x="32" y="107"/>
                </a:lnTo>
                <a:lnTo>
                  <a:pt x="26" y="109"/>
                </a:lnTo>
                <a:lnTo>
                  <a:pt x="20" y="111"/>
                </a:lnTo>
                <a:lnTo>
                  <a:pt x="14" y="115"/>
                </a:lnTo>
                <a:lnTo>
                  <a:pt x="9" y="120"/>
                </a:lnTo>
                <a:lnTo>
                  <a:pt x="6" y="125"/>
                </a:lnTo>
                <a:lnTo>
                  <a:pt x="3" y="131"/>
                </a:lnTo>
                <a:lnTo>
                  <a:pt x="1" y="138"/>
                </a:lnTo>
                <a:lnTo>
                  <a:pt x="0" y="145"/>
                </a:lnTo>
                <a:lnTo>
                  <a:pt x="0" y="249"/>
                </a:lnTo>
                <a:lnTo>
                  <a:pt x="0" y="249"/>
                </a:lnTo>
                <a:lnTo>
                  <a:pt x="1" y="257"/>
                </a:lnTo>
                <a:lnTo>
                  <a:pt x="3" y="264"/>
                </a:lnTo>
                <a:lnTo>
                  <a:pt x="7" y="270"/>
                </a:lnTo>
                <a:lnTo>
                  <a:pt x="12" y="276"/>
                </a:lnTo>
                <a:lnTo>
                  <a:pt x="17" y="281"/>
                </a:lnTo>
                <a:lnTo>
                  <a:pt x="24" y="284"/>
                </a:lnTo>
                <a:lnTo>
                  <a:pt x="31" y="286"/>
                </a:lnTo>
                <a:lnTo>
                  <a:pt x="39" y="287"/>
                </a:lnTo>
                <a:lnTo>
                  <a:pt x="196" y="287"/>
                </a:lnTo>
                <a:lnTo>
                  <a:pt x="196" y="287"/>
                </a:lnTo>
                <a:lnTo>
                  <a:pt x="204" y="286"/>
                </a:lnTo>
                <a:lnTo>
                  <a:pt x="211" y="284"/>
                </a:lnTo>
                <a:lnTo>
                  <a:pt x="218" y="281"/>
                </a:lnTo>
                <a:lnTo>
                  <a:pt x="223" y="276"/>
                </a:lnTo>
                <a:lnTo>
                  <a:pt x="228" y="270"/>
                </a:lnTo>
                <a:lnTo>
                  <a:pt x="232" y="264"/>
                </a:lnTo>
                <a:lnTo>
                  <a:pt x="234" y="257"/>
                </a:lnTo>
                <a:lnTo>
                  <a:pt x="235" y="249"/>
                </a:lnTo>
                <a:lnTo>
                  <a:pt x="235" y="145"/>
                </a:lnTo>
                <a:lnTo>
                  <a:pt x="235" y="145"/>
                </a:lnTo>
                <a:lnTo>
                  <a:pt x="234" y="138"/>
                </a:lnTo>
                <a:lnTo>
                  <a:pt x="232" y="131"/>
                </a:lnTo>
                <a:lnTo>
                  <a:pt x="229" y="125"/>
                </a:lnTo>
                <a:lnTo>
                  <a:pt x="225" y="120"/>
                </a:lnTo>
                <a:lnTo>
                  <a:pt x="221" y="115"/>
                </a:lnTo>
                <a:lnTo>
                  <a:pt x="215" y="111"/>
                </a:lnTo>
                <a:lnTo>
                  <a:pt x="209" y="109"/>
                </a:lnTo>
                <a:lnTo>
                  <a:pt x="203" y="107"/>
                </a:lnTo>
                <a:lnTo>
                  <a:pt x="203" y="107"/>
                </a:lnTo>
                <a:close/>
                <a:moveTo>
                  <a:pt x="43" y="77"/>
                </a:moveTo>
                <a:lnTo>
                  <a:pt x="43" y="77"/>
                </a:lnTo>
                <a:lnTo>
                  <a:pt x="43" y="70"/>
                </a:lnTo>
                <a:lnTo>
                  <a:pt x="44" y="64"/>
                </a:lnTo>
                <a:lnTo>
                  <a:pt x="46" y="57"/>
                </a:lnTo>
                <a:lnTo>
                  <a:pt x="49" y="51"/>
                </a:lnTo>
                <a:lnTo>
                  <a:pt x="52" y="45"/>
                </a:lnTo>
                <a:lnTo>
                  <a:pt x="56" y="40"/>
                </a:lnTo>
                <a:lnTo>
                  <a:pt x="60" y="35"/>
                </a:lnTo>
                <a:lnTo>
                  <a:pt x="65" y="30"/>
                </a:lnTo>
                <a:lnTo>
                  <a:pt x="70" y="26"/>
                </a:lnTo>
                <a:lnTo>
                  <a:pt x="76" y="22"/>
                </a:lnTo>
                <a:lnTo>
                  <a:pt x="82" y="18"/>
                </a:lnTo>
                <a:lnTo>
                  <a:pt x="88" y="16"/>
                </a:lnTo>
                <a:lnTo>
                  <a:pt x="95" y="13"/>
                </a:lnTo>
                <a:lnTo>
                  <a:pt x="102" y="12"/>
                </a:lnTo>
                <a:lnTo>
                  <a:pt x="110" y="11"/>
                </a:lnTo>
                <a:lnTo>
                  <a:pt x="117" y="10"/>
                </a:lnTo>
                <a:lnTo>
                  <a:pt x="117" y="10"/>
                </a:lnTo>
                <a:lnTo>
                  <a:pt x="125" y="11"/>
                </a:lnTo>
                <a:lnTo>
                  <a:pt x="133" y="12"/>
                </a:lnTo>
                <a:lnTo>
                  <a:pt x="140" y="13"/>
                </a:lnTo>
                <a:lnTo>
                  <a:pt x="146" y="16"/>
                </a:lnTo>
                <a:lnTo>
                  <a:pt x="153" y="18"/>
                </a:lnTo>
                <a:lnTo>
                  <a:pt x="159" y="22"/>
                </a:lnTo>
                <a:lnTo>
                  <a:pt x="165" y="26"/>
                </a:lnTo>
                <a:lnTo>
                  <a:pt x="170" y="30"/>
                </a:lnTo>
                <a:lnTo>
                  <a:pt x="175" y="35"/>
                </a:lnTo>
                <a:lnTo>
                  <a:pt x="179" y="40"/>
                </a:lnTo>
                <a:lnTo>
                  <a:pt x="183" y="45"/>
                </a:lnTo>
                <a:lnTo>
                  <a:pt x="186" y="51"/>
                </a:lnTo>
                <a:lnTo>
                  <a:pt x="189" y="57"/>
                </a:lnTo>
                <a:lnTo>
                  <a:pt x="191" y="64"/>
                </a:lnTo>
                <a:lnTo>
                  <a:pt x="192" y="70"/>
                </a:lnTo>
                <a:lnTo>
                  <a:pt x="192" y="77"/>
                </a:lnTo>
                <a:lnTo>
                  <a:pt x="192" y="106"/>
                </a:lnTo>
                <a:lnTo>
                  <a:pt x="43" y="106"/>
                </a:lnTo>
                <a:lnTo>
                  <a:pt x="43" y="77"/>
                </a:lnTo>
                <a:close/>
                <a:moveTo>
                  <a:pt x="224" y="249"/>
                </a:moveTo>
                <a:lnTo>
                  <a:pt x="224" y="249"/>
                </a:lnTo>
                <a:lnTo>
                  <a:pt x="223" y="254"/>
                </a:lnTo>
                <a:lnTo>
                  <a:pt x="222" y="260"/>
                </a:lnTo>
                <a:lnTo>
                  <a:pt x="219" y="264"/>
                </a:lnTo>
                <a:lnTo>
                  <a:pt x="216" y="268"/>
                </a:lnTo>
                <a:lnTo>
                  <a:pt x="212" y="272"/>
                </a:lnTo>
                <a:lnTo>
                  <a:pt x="207" y="274"/>
                </a:lnTo>
                <a:lnTo>
                  <a:pt x="202" y="276"/>
                </a:lnTo>
                <a:lnTo>
                  <a:pt x="196" y="277"/>
                </a:lnTo>
                <a:lnTo>
                  <a:pt x="39" y="277"/>
                </a:lnTo>
                <a:lnTo>
                  <a:pt x="39" y="277"/>
                </a:lnTo>
                <a:lnTo>
                  <a:pt x="33" y="276"/>
                </a:lnTo>
                <a:lnTo>
                  <a:pt x="28" y="274"/>
                </a:lnTo>
                <a:lnTo>
                  <a:pt x="23" y="272"/>
                </a:lnTo>
                <a:lnTo>
                  <a:pt x="19" y="268"/>
                </a:lnTo>
                <a:lnTo>
                  <a:pt x="16" y="264"/>
                </a:lnTo>
                <a:lnTo>
                  <a:pt x="13" y="260"/>
                </a:lnTo>
                <a:lnTo>
                  <a:pt x="12" y="254"/>
                </a:lnTo>
                <a:lnTo>
                  <a:pt x="11" y="249"/>
                </a:lnTo>
                <a:lnTo>
                  <a:pt x="11" y="145"/>
                </a:lnTo>
                <a:lnTo>
                  <a:pt x="11" y="145"/>
                </a:lnTo>
                <a:lnTo>
                  <a:pt x="12" y="139"/>
                </a:lnTo>
                <a:lnTo>
                  <a:pt x="13" y="134"/>
                </a:lnTo>
                <a:lnTo>
                  <a:pt x="16" y="129"/>
                </a:lnTo>
                <a:lnTo>
                  <a:pt x="19" y="125"/>
                </a:lnTo>
                <a:lnTo>
                  <a:pt x="23" y="122"/>
                </a:lnTo>
                <a:lnTo>
                  <a:pt x="28" y="119"/>
                </a:lnTo>
                <a:lnTo>
                  <a:pt x="33" y="117"/>
                </a:lnTo>
                <a:lnTo>
                  <a:pt x="39" y="117"/>
                </a:lnTo>
                <a:lnTo>
                  <a:pt x="196" y="117"/>
                </a:lnTo>
                <a:lnTo>
                  <a:pt x="196" y="117"/>
                </a:lnTo>
                <a:lnTo>
                  <a:pt x="202" y="117"/>
                </a:lnTo>
                <a:lnTo>
                  <a:pt x="207" y="119"/>
                </a:lnTo>
                <a:lnTo>
                  <a:pt x="212" y="122"/>
                </a:lnTo>
                <a:lnTo>
                  <a:pt x="216" y="125"/>
                </a:lnTo>
                <a:lnTo>
                  <a:pt x="219" y="129"/>
                </a:lnTo>
                <a:lnTo>
                  <a:pt x="222" y="134"/>
                </a:lnTo>
                <a:lnTo>
                  <a:pt x="223" y="139"/>
                </a:lnTo>
                <a:lnTo>
                  <a:pt x="224" y="145"/>
                </a:lnTo>
                <a:lnTo>
                  <a:pt x="224" y="249"/>
                </a:lnTo>
                <a:close/>
                <a:moveTo>
                  <a:pt x="117" y="149"/>
                </a:moveTo>
                <a:lnTo>
                  <a:pt x="117" y="149"/>
                </a:lnTo>
                <a:lnTo>
                  <a:pt x="113" y="149"/>
                </a:lnTo>
                <a:lnTo>
                  <a:pt x="109" y="150"/>
                </a:lnTo>
                <a:lnTo>
                  <a:pt x="106" y="152"/>
                </a:lnTo>
                <a:lnTo>
                  <a:pt x="102" y="155"/>
                </a:lnTo>
                <a:lnTo>
                  <a:pt x="100" y="158"/>
                </a:lnTo>
                <a:lnTo>
                  <a:pt x="98" y="162"/>
                </a:lnTo>
                <a:lnTo>
                  <a:pt x="97" y="166"/>
                </a:lnTo>
                <a:lnTo>
                  <a:pt x="96" y="170"/>
                </a:lnTo>
                <a:lnTo>
                  <a:pt x="96" y="202"/>
                </a:lnTo>
                <a:lnTo>
                  <a:pt x="96" y="202"/>
                </a:lnTo>
                <a:lnTo>
                  <a:pt x="97" y="206"/>
                </a:lnTo>
                <a:lnTo>
                  <a:pt x="98" y="210"/>
                </a:lnTo>
                <a:lnTo>
                  <a:pt x="100" y="214"/>
                </a:lnTo>
                <a:lnTo>
                  <a:pt x="102" y="217"/>
                </a:lnTo>
                <a:lnTo>
                  <a:pt x="106" y="220"/>
                </a:lnTo>
                <a:lnTo>
                  <a:pt x="109" y="222"/>
                </a:lnTo>
                <a:lnTo>
                  <a:pt x="113" y="223"/>
                </a:lnTo>
                <a:lnTo>
                  <a:pt x="117" y="223"/>
                </a:lnTo>
                <a:lnTo>
                  <a:pt x="117" y="223"/>
                </a:lnTo>
                <a:lnTo>
                  <a:pt x="122" y="223"/>
                </a:lnTo>
                <a:lnTo>
                  <a:pt x="126" y="222"/>
                </a:lnTo>
                <a:lnTo>
                  <a:pt x="129" y="220"/>
                </a:lnTo>
                <a:lnTo>
                  <a:pt x="133" y="217"/>
                </a:lnTo>
                <a:lnTo>
                  <a:pt x="135" y="214"/>
                </a:lnTo>
                <a:lnTo>
                  <a:pt x="137" y="210"/>
                </a:lnTo>
                <a:lnTo>
                  <a:pt x="138" y="206"/>
                </a:lnTo>
                <a:lnTo>
                  <a:pt x="139" y="202"/>
                </a:lnTo>
                <a:lnTo>
                  <a:pt x="139" y="170"/>
                </a:lnTo>
                <a:lnTo>
                  <a:pt x="139" y="170"/>
                </a:lnTo>
                <a:lnTo>
                  <a:pt x="138" y="166"/>
                </a:lnTo>
                <a:lnTo>
                  <a:pt x="137" y="162"/>
                </a:lnTo>
                <a:lnTo>
                  <a:pt x="135" y="158"/>
                </a:lnTo>
                <a:lnTo>
                  <a:pt x="133" y="155"/>
                </a:lnTo>
                <a:lnTo>
                  <a:pt x="129" y="152"/>
                </a:lnTo>
                <a:lnTo>
                  <a:pt x="126" y="150"/>
                </a:lnTo>
                <a:lnTo>
                  <a:pt x="122" y="149"/>
                </a:lnTo>
                <a:lnTo>
                  <a:pt x="117" y="149"/>
                </a:lnTo>
                <a:lnTo>
                  <a:pt x="117" y="149"/>
                </a:lnTo>
                <a:close/>
                <a:moveTo>
                  <a:pt x="128" y="202"/>
                </a:moveTo>
                <a:lnTo>
                  <a:pt x="128" y="202"/>
                </a:lnTo>
                <a:lnTo>
                  <a:pt x="127" y="206"/>
                </a:lnTo>
                <a:lnTo>
                  <a:pt x="125" y="210"/>
                </a:lnTo>
                <a:lnTo>
                  <a:pt x="122" y="212"/>
                </a:lnTo>
                <a:lnTo>
                  <a:pt x="117" y="213"/>
                </a:lnTo>
                <a:lnTo>
                  <a:pt x="117" y="213"/>
                </a:lnTo>
                <a:lnTo>
                  <a:pt x="113" y="212"/>
                </a:lnTo>
                <a:lnTo>
                  <a:pt x="110" y="210"/>
                </a:lnTo>
                <a:lnTo>
                  <a:pt x="108" y="206"/>
                </a:lnTo>
                <a:lnTo>
                  <a:pt x="107" y="202"/>
                </a:lnTo>
                <a:lnTo>
                  <a:pt x="107" y="170"/>
                </a:lnTo>
                <a:lnTo>
                  <a:pt x="107" y="170"/>
                </a:lnTo>
                <a:lnTo>
                  <a:pt x="108" y="166"/>
                </a:lnTo>
                <a:lnTo>
                  <a:pt x="110" y="163"/>
                </a:lnTo>
                <a:lnTo>
                  <a:pt x="113" y="160"/>
                </a:lnTo>
                <a:lnTo>
                  <a:pt x="117" y="159"/>
                </a:lnTo>
                <a:lnTo>
                  <a:pt x="117" y="159"/>
                </a:lnTo>
                <a:lnTo>
                  <a:pt x="122" y="160"/>
                </a:lnTo>
                <a:lnTo>
                  <a:pt x="125" y="163"/>
                </a:lnTo>
                <a:lnTo>
                  <a:pt x="127" y="166"/>
                </a:lnTo>
                <a:lnTo>
                  <a:pt x="128" y="170"/>
                </a:lnTo>
                <a:lnTo>
                  <a:pt x="128" y="20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29">
            <a:extLst>
              <a:ext uri="{FF2B5EF4-FFF2-40B4-BE49-F238E27FC236}">
                <a16:creationId xmlns:a16="http://schemas.microsoft.com/office/drawing/2014/main" id="{D8D5EFD5-8F2C-4C57-B9EB-C0CD7A8A2F2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096189" y="2521802"/>
            <a:ext cx="458787" cy="458788"/>
          </a:xfrm>
          <a:custGeom>
            <a:avLst/>
            <a:gdLst>
              <a:gd name="T0" fmla="*/ 130 w 289"/>
              <a:gd name="T1" fmla="*/ 1 h 289"/>
              <a:gd name="T2" fmla="*/ 89 w 289"/>
              <a:gd name="T3" fmla="*/ 11 h 289"/>
              <a:gd name="T4" fmla="*/ 53 w 289"/>
              <a:gd name="T5" fmla="*/ 33 h 289"/>
              <a:gd name="T6" fmla="*/ 25 w 289"/>
              <a:gd name="T7" fmla="*/ 64 h 289"/>
              <a:gd name="T8" fmla="*/ 6 w 289"/>
              <a:gd name="T9" fmla="*/ 102 h 289"/>
              <a:gd name="T10" fmla="*/ 0 w 289"/>
              <a:gd name="T11" fmla="*/ 145 h 289"/>
              <a:gd name="T12" fmla="*/ 3 w 289"/>
              <a:gd name="T13" fmla="*/ 174 h 289"/>
              <a:gd name="T14" fmla="*/ 17 w 289"/>
              <a:gd name="T15" fmla="*/ 213 h 289"/>
              <a:gd name="T16" fmla="*/ 43 w 289"/>
              <a:gd name="T17" fmla="*/ 247 h 289"/>
              <a:gd name="T18" fmla="*/ 76 w 289"/>
              <a:gd name="T19" fmla="*/ 271 h 289"/>
              <a:gd name="T20" fmla="*/ 116 w 289"/>
              <a:gd name="T21" fmla="*/ 286 h 289"/>
              <a:gd name="T22" fmla="*/ 145 w 289"/>
              <a:gd name="T23" fmla="*/ 289 h 289"/>
              <a:gd name="T24" fmla="*/ 187 w 289"/>
              <a:gd name="T25" fmla="*/ 282 h 289"/>
              <a:gd name="T26" fmla="*/ 225 w 289"/>
              <a:gd name="T27" fmla="*/ 264 h 289"/>
              <a:gd name="T28" fmla="*/ 256 w 289"/>
              <a:gd name="T29" fmla="*/ 236 h 289"/>
              <a:gd name="T30" fmla="*/ 277 w 289"/>
              <a:gd name="T31" fmla="*/ 201 h 289"/>
              <a:gd name="T32" fmla="*/ 288 w 289"/>
              <a:gd name="T33" fmla="*/ 160 h 289"/>
              <a:gd name="T34" fmla="*/ 288 w 289"/>
              <a:gd name="T35" fmla="*/ 130 h 289"/>
              <a:gd name="T36" fmla="*/ 277 w 289"/>
              <a:gd name="T37" fmla="*/ 88 h 289"/>
              <a:gd name="T38" fmla="*/ 256 w 289"/>
              <a:gd name="T39" fmla="*/ 52 h 289"/>
              <a:gd name="T40" fmla="*/ 225 w 289"/>
              <a:gd name="T41" fmla="*/ 25 h 289"/>
              <a:gd name="T42" fmla="*/ 187 w 289"/>
              <a:gd name="T43" fmla="*/ 7 h 289"/>
              <a:gd name="T44" fmla="*/ 145 w 289"/>
              <a:gd name="T45" fmla="*/ 0 h 289"/>
              <a:gd name="T46" fmla="*/ 145 w 289"/>
              <a:gd name="T47" fmla="*/ 278 h 289"/>
              <a:gd name="T48" fmla="*/ 105 w 289"/>
              <a:gd name="T49" fmla="*/ 272 h 289"/>
              <a:gd name="T50" fmla="*/ 71 w 289"/>
              <a:gd name="T51" fmla="*/ 255 h 289"/>
              <a:gd name="T52" fmla="*/ 42 w 289"/>
              <a:gd name="T53" fmla="*/ 229 h 289"/>
              <a:gd name="T54" fmla="*/ 21 w 289"/>
              <a:gd name="T55" fmla="*/ 197 h 289"/>
              <a:gd name="T56" fmla="*/ 12 w 289"/>
              <a:gd name="T57" fmla="*/ 158 h 289"/>
              <a:gd name="T58" fmla="*/ 12 w 289"/>
              <a:gd name="T59" fmla="*/ 131 h 289"/>
              <a:gd name="T60" fmla="*/ 21 w 289"/>
              <a:gd name="T61" fmla="*/ 92 h 289"/>
              <a:gd name="T62" fmla="*/ 42 w 289"/>
              <a:gd name="T63" fmla="*/ 60 h 289"/>
              <a:gd name="T64" fmla="*/ 71 w 289"/>
              <a:gd name="T65" fmla="*/ 34 h 289"/>
              <a:gd name="T66" fmla="*/ 105 w 289"/>
              <a:gd name="T67" fmla="*/ 17 h 289"/>
              <a:gd name="T68" fmla="*/ 145 w 289"/>
              <a:gd name="T69" fmla="*/ 11 h 289"/>
              <a:gd name="T70" fmla="*/ 171 w 289"/>
              <a:gd name="T71" fmla="*/ 14 h 289"/>
              <a:gd name="T72" fmla="*/ 208 w 289"/>
              <a:gd name="T73" fmla="*/ 27 h 289"/>
              <a:gd name="T74" fmla="*/ 239 w 289"/>
              <a:gd name="T75" fmla="*/ 50 h 289"/>
              <a:gd name="T76" fmla="*/ 261 w 289"/>
              <a:gd name="T77" fmla="*/ 81 h 289"/>
              <a:gd name="T78" fmla="*/ 275 w 289"/>
              <a:gd name="T79" fmla="*/ 118 h 289"/>
              <a:gd name="T80" fmla="*/ 277 w 289"/>
              <a:gd name="T81" fmla="*/ 145 h 289"/>
              <a:gd name="T82" fmla="*/ 271 w 289"/>
              <a:gd name="T83" fmla="*/ 184 h 289"/>
              <a:gd name="T84" fmla="*/ 255 w 289"/>
              <a:gd name="T85" fmla="*/ 219 h 289"/>
              <a:gd name="T86" fmla="*/ 229 w 289"/>
              <a:gd name="T87" fmla="*/ 247 h 289"/>
              <a:gd name="T88" fmla="*/ 196 w 289"/>
              <a:gd name="T89" fmla="*/ 267 h 289"/>
              <a:gd name="T90" fmla="*/ 158 w 289"/>
              <a:gd name="T91" fmla="*/ 277 h 289"/>
              <a:gd name="T92" fmla="*/ 221 w 289"/>
              <a:gd name="T93" fmla="*/ 92 h 289"/>
              <a:gd name="T94" fmla="*/ 130 w 289"/>
              <a:gd name="T95" fmla="*/ 194 h 289"/>
              <a:gd name="T96" fmla="*/ 126 w 289"/>
              <a:gd name="T97" fmla="*/ 194 h 289"/>
              <a:gd name="T98" fmla="*/ 69 w 289"/>
              <a:gd name="T99" fmla="*/ 149 h 289"/>
              <a:gd name="T100" fmla="*/ 67 w 289"/>
              <a:gd name="T101" fmla="*/ 143 h 289"/>
              <a:gd name="T102" fmla="*/ 70 w 289"/>
              <a:gd name="T103" fmla="*/ 140 h 289"/>
              <a:gd name="T104" fmla="*/ 76 w 289"/>
              <a:gd name="T105" fmla="*/ 141 h 289"/>
              <a:gd name="T106" fmla="*/ 212 w 289"/>
              <a:gd name="T107" fmla="*/ 85 h 289"/>
              <a:gd name="T108" fmla="*/ 218 w 289"/>
              <a:gd name="T109" fmla="*/ 83 h 289"/>
              <a:gd name="T110" fmla="*/ 222 w 289"/>
              <a:gd name="T111" fmla="*/ 86 h 289"/>
              <a:gd name="T112" fmla="*/ 221 w 289"/>
              <a:gd name="T113" fmla="*/ 92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9" h="289">
                <a:moveTo>
                  <a:pt x="145" y="0"/>
                </a:moveTo>
                <a:lnTo>
                  <a:pt x="145" y="0"/>
                </a:lnTo>
                <a:lnTo>
                  <a:pt x="130" y="1"/>
                </a:lnTo>
                <a:lnTo>
                  <a:pt x="116" y="3"/>
                </a:lnTo>
                <a:lnTo>
                  <a:pt x="102" y="7"/>
                </a:lnTo>
                <a:lnTo>
                  <a:pt x="89" y="11"/>
                </a:lnTo>
                <a:lnTo>
                  <a:pt x="76" y="17"/>
                </a:lnTo>
                <a:lnTo>
                  <a:pt x="64" y="25"/>
                </a:lnTo>
                <a:lnTo>
                  <a:pt x="53" y="33"/>
                </a:lnTo>
                <a:lnTo>
                  <a:pt x="43" y="42"/>
                </a:lnTo>
                <a:lnTo>
                  <a:pt x="34" y="52"/>
                </a:lnTo>
                <a:lnTo>
                  <a:pt x="25" y="64"/>
                </a:lnTo>
                <a:lnTo>
                  <a:pt x="17" y="75"/>
                </a:lnTo>
                <a:lnTo>
                  <a:pt x="11" y="88"/>
                </a:lnTo>
                <a:lnTo>
                  <a:pt x="6" y="102"/>
                </a:lnTo>
                <a:lnTo>
                  <a:pt x="3" y="116"/>
                </a:lnTo>
                <a:lnTo>
                  <a:pt x="1" y="130"/>
                </a:lnTo>
                <a:lnTo>
                  <a:pt x="0" y="145"/>
                </a:lnTo>
                <a:lnTo>
                  <a:pt x="0" y="145"/>
                </a:lnTo>
                <a:lnTo>
                  <a:pt x="1" y="160"/>
                </a:lnTo>
                <a:lnTo>
                  <a:pt x="3" y="174"/>
                </a:lnTo>
                <a:lnTo>
                  <a:pt x="6" y="188"/>
                </a:lnTo>
                <a:lnTo>
                  <a:pt x="11" y="201"/>
                </a:lnTo>
                <a:lnTo>
                  <a:pt x="17" y="213"/>
                </a:lnTo>
                <a:lnTo>
                  <a:pt x="25" y="225"/>
                </a:lnTo>
                <a:lnTo>
                  <a:pt x="34" y="236"/>
                </a:lnTo>
                <a:lnTo>
                  <a:pt x="43" y="247"/>
                </a:lnTo>
                <a:lnTo>
                  <a:pt x="53" y="256"/>
                </a:lnTo>
                <a:lnTo>
                  <a:pt x="64" y="264"/>
                </a:lnTo>
                <a:lnTo>
                  <a:pt x="76" y="271"/>
                </a:lnTo>
                <a:lnTo>
                  <a:pt x="89" y="277"/>
                </a:lnTo>
                <a:lnTo>
                  <a:pt x="102" y="282"/>
                </a:lnTo>
                <a:lnTo>
                  <a:pt x="116" y="286"/>
                </a:lnTo>
                <a:lnTo>
                  <a:pt x="130" y="288"/>
                </a:lnTo>
                <a:lnTo>
                  <a:pt x="145" y="289"/>
                </a:lnTo>
                <a:lnTo>
                  <a:pt x="145" y="289"/>
                </a:lnTo>
                <a:lnTo>
                  <a:pt x="159" y="288"/>
                </a:lnTo>
                <a:lnTo>
                  <a:pt x="174" y="286"/>
                </a:lnTo>
                <a:lnTo>
                  <a:pt x="187" y="282"/>
                </a:lnTo>
                <a:lnTo>
                  <a:pt x="201" y="277"/>
                </a:lnTo>
                <a:lnTo>
                  <a:pt x="213" y="271"/>
                </a:lnTo>
                <a:lnTo>
                  <a:pt x="225" y="264"/>
                </a:lnTo>
                <a:lnTo>
                  <a:pt x="236" y="256"/>
                </a:lnTo>
                <a:lnTo>
                  <a:pt x="246" y="247"/>
                </a:lnTo>
                <a:lnTo>
                  <a:pt x="256" y="236"/>
                </a:lnTo>
                <a:lnTo>
                  <a:pt x="264" y="225"/>
                </a:lnTo>
                <a:lnTo>
                  <a:pt x="271" y="213"/>
                </a:lnTo>
                <a:lnTo>
                  <a:pt x="277" y="201"/>
                </a:lnTo>
                <a:lnTo>
                  <a:pt x="282" y="188"/>
                </a:lnTo>
                <a:lnTo>
                  <a:pt x="286" y="174"/>
                </a:lnTo>
                <a:lnTo>
                  <a:pt x="288" y="160"/>
                </a:lnTo>
                <a:lnTo>
                  <a:pt x="289" y="145"/>
                </a:lnTo>
                <a:lnTo>
                  <a:pt x="289" y="145"/>
                </a:lnTo>
                <a:lnTo>
                  <a:pt x="288" y="130"/>
                </a:lnTo>
                <a:lnTo>
                  <a:pt x="286" y="116"/>
                </a:lnTo>
                <a:lnTo>
                  <a:pt x="282" y="102"/>
                </a:lnTo>
                <a:lnTo>
                  <a:pt x="277" y="88"/>
                </a:lnTo>
                <a:lnTo>
                  <a:pt x="271" y="75"/>
                </a:lnTo>
                <a:lnTo>
                  <a:pt x="264" y="64"/>
                </a:lnTo>
                <a:lnTo>
                  <a:pt x="256" y="52"/>
                </a:lnTo>
                <a:lnTo>
                  <a:pt x="246" y="42"/>
                </a:lnTo>
                <a:lnTo>
                  <a:pt x="236" y="33"/>
                </a:lnTo>
                <a:lnTo>
                  <a:pt x="225" y="25"/>
                </a:lnTo>
                <a:lnTo>
                  <a:pt x="213" y="17"/>
                </a:lnTo>
                <a:lnTo>
                  <a:pt x="201" y="11"/>
                </a:lnTo>
                <a:lnTo>
                  <a:pt x="187" y="7"/>
                </a:lnTo>
                <a:lnTo>
                  <a:pt x="174" y="3"/>
                </a:lnTo>
                <a:lnTo>
                  <a:pt x="159" y="1"/>
                </a:lnTo>
                <a:lnTo>
                  <a:pt x="145" y="0"/>
                </a:lnTo>
                <a:lnTo>
                  <a:pt x="145" y="0"/>
                </a:lnTo>
                <a:close/>
                <a:moveTo>
                  <a:pt x="145" y="278"/>
                </a:moveTo>
                <a:lnTo>
                  <a:pt x="145" y="278"/>
                </a:lnTo>
                <a:lnTo>
                  <a:pt x="131" y="277"/>
                </a:lnTo>
                <a:lnTo>
                  <a:pt x="118" y="275"/>
                </a:lnTo>
                <a:lnTo>
                  <a:pt x="105" y="272"/>
                </a:lnTo>
                <a:lnTo>
                  <a:pt x="93" y="267"/>
                </a:lnTo>
                <a:lnTo>
                  <a:pt x="82" y="262"/>
                </a:lnTo>
                <a:lnTo>
                  <a:pt x="71" y="255"/>
                </a:lnTo>
                <a:lnTo>
                  <a:pt x="60" y="247"/>
                </a:lnTo>
                <a:lnTo>
                  <a:pt x="51" y="239"/>
                </a:lnTo>
                <a:lnTo>
                  <a:pt x="42" y="229"/>
                </a:lnTo>
                <a:lnTo>
                  <a:pt x="35" y="219"/>
                </a:lnTo>
                <a:lnTo>
                  <a:pt x="28" y="208"/>
                </a:lnTo>
                <a:lnTo>
                  <a:pt x="21" y="197"/>
                </a:lnTo>
                <a:lnTo>
                  <a:pt x="17" y="184"/>
                </a:lnTo>
                <a:lnTo>
                  <a:pt x="14" y="172"/>
                </a:lnTo>
                <a:lnTo>
                  <a:pt x="12" y="158"/>
                </a:lnTo>
                <a:lnTo>
                  <a:pt x="11" y="145"/>
                </a:lnTo>
                <a:lnTo>
                  <a:pt x="11" y="145"/>
                </a:lnTo>
                <a:lnTo>
                  <a:pt x="12" y="131"/>
                </a:lnTo>
                <a:lnTo>
                  <a:pt x="14" y="118"/>
                </a:lnTo>
                <a:lnTo>
                  <a:pt x="17" y="105"/>
                </a:lnTo>
                <a:lnTo>
                  <a:pt x="21" y="92"/>
                </a:lnTo>
                <a:lnTo>
                  <a:pt x="28" y="81"/>
                </a:lnTo>
                <a:lnTo>
                  <a:pt x="35" y="70"/>
                </a:lnTo>
                <a:lnTo>
                  <a:pt x="42" y="60"/>
                </a:lnTo>
                <a:lnTo>
                  <a:pt x="51" y="50"/>
                </a:lnTo>
                <a:lnTo>
                  <a:pt x="60" y="42"/>
                </a:lnTo>
                <a:lnTo>
                  <a:pt x="71" y="34"/>
                </a:lnTo>
                <a:lnTo>
                  <a:pt x="82" y="27"/>
                </a:lnTo>
                <a:lnTo>
                  <a:pt x="93" y="22"/>
                </a:lnTo>
                <a:lnTo>
                  <a:pt x="105" y="17"/>
                </a:lnTo>
                <a:lnTo>
                  <a:pt x="118" y="14"/>
                </a:lnTo>
                <a:lnTo>
                  <a:pt x="131" y="12"/>
                </a:lnTo>
                <a:lnTo>
                  <a:pt x="145" y="11"/>
                </a:lnTo>
                <a:lnTo>
                  <a:pt x="145" y="11"/>
                </a:lnTo>
                <a:lnTo>
                  <a:pt x="158" y="12"/>
                </a:lnTo>
                <a:lnTo>
                  <a:pt x="171" y="14"/>
                </a:lnTo>
                <a:lnTo>
                  <a:pt x="184" y="17"/>
                </a:lnTo>
                <a:lnTo>
                  <a:pt x="196" y="22"/>
                </a:lnTo>
                <a:lnTo>
                  <a:pt x="208" y="27"/>
                </a:lnTo>
                <a:lnTo>
                  <a:pt x="219" y="34"/>
                </a:lnTo>
                <a:lnTo>
                  <a:pt x="229" y="42"/>
                </a:lnTo>
                <a:lnTo>
                  <a:pt x="239" y="50"/>
                </a:lnTo>
                <a:lnTo>
                  <a:pt x="247" y="60"/>
                </a:lnTo>
                <a:lnTo>
                  <a:pt x="255" y="70"/>
                </a:lnTo>
                <a:lnTo>
                  <a:pt x="261" y="81"/>
                </a:lnTo>
                <a:lnTo>
                  <a:pt x="267" y="92"/>
                </a:lnTo>
                <a:lnTo>
                  <a:pt x="271" y="105"/>
                </a:lnTo>
                <a:lnTo>
                  <a:pt x="275" y="118"/>
                </a:lnTo>
                <a:lnTo>
                  <a:pt x="277" y="131"/>
                </a:lnTo>
                <a:lnTo>
                  <a:pt x="277" y="145"/>
                </a:lnTo>
                <a:lnTo>
                  <a:pt x="277" y="145"/>
                </a:lnTo>
                <a:lnTo>
                  <a:pt x="277" y="158"/>
                </a:lnTo>
                <a:lnTo>
                  <a:pt x="275" y="172"/>
                </a:lnTo>
                <a:lnTo>
                  <a:pt x="271" y="184"/>
                </a:lnTo>
                <a:lnTo>
                  <a:pt x="267" y="197"/>
                </a:lnTo>
                <a:lnTo>
                  <a:pt x="261" y="208"/>
                </a:lnTo>
                <a:lnTo>
                  <a:pt x="255" y="219"/>
                </a:lnTo>
                <a:lnTo>
                  <a:pt x="247" y="229"/>
                </a:lnTo>
                <a:lnTo>
                  <a:pt x="239" y="239"/>
                </a:lnTo>
                <a:lnTo>
                  <a:pt x="229" y="247"/>
                </a:lnTo>
                <a:lnTo>
                  <a:pt x="219" y="255"/>
                </a:lnTo>
                <a:lnTo>
                  <a:pt x="208" y="262"/>
                </a:lnTo>
                <a:lnTo>
                  <a:pt x="196" y="267"/>
                </a:lnTo>
                <a:lnTo>
                  <a:pt x="184" y="272"/>
                </a:lnTo>
                <a:lnTo>
                  <a:pt x="171" y="275"/>
                </a:lnTo>
                <a:lnTo>
                  <a:pt x="158" y="277"/>
                </a:lnTo>
                <a:lnTo>
                  <a:pt x="145" y="278"/>
                </a:lnTo>
                <a:lnTo>
                  <a:pt x="145" y="278"/>
                </a:lnTo>
                <a:close/>
                <a:moveTo>
                  <a:pt x="221" y="92"/>
                </a:moveTo>
                <a:lnTo>
                  <a:pt x="132" y="193"/>
                </a:lnTo>
                <a:lnTo>
                  <a:pt x="132" y="193"/>
                </a:lnTo>
                <a:lnTo>
                  <a:pt x="130" y="194"/>
                </a:lnTo>
                <a:lnTo>
                  <a:pt x="128" y="195"/>
                </a:lnTo>
                <a:lnTo>
                  <a:pt x="128" y="195"/>
                </a:lnTo>
                <a:lnTo>
                  <a:pt x="126" y="194"/>
                </a:lnTo>
                <a:lnTo>
                  <a:pt x="125" y="193"/>
                </a:lnTo>
                <a:lnTo>
                  <a:pt x="69" y="149"/>
                </a:lnTo>
                <a:lnTo>
                  <a:pt x="69" y="149"/>
                </a:lnTo>
                <a:lnTo>
                  <a:pt x="68" y="148"/>
                </a:lnTo>
                <a:lnTo>
                  <a:pt x="67" y="146"/>
                </a:lnTo>
                <a:lnTo>
                  <a:pt x="67" y="143"/>
                </a:lnTo>
                <a:lnTo>
                  <a:pt x="68" y="141"/>
                </a:lnTo>
                <a:lnTo>
                  <a:pt x="68" y="141"/>
                </a:lnTo>
                <a:lnTo>
                  <a:pt x="70" y="140"/>
                </a:lnTo>
                <a:lnTo>
                  <a:pt x="72" y="139"/>
                </a:lnTo>
                <a:lnTo>
                  <a:pt x="74" y="140"/>
                </a:lnTo>
                <a:lnTo>
                  <a:pt x="76" y="141"/>
                </a:lnTo>
                <a:lnTo>
                  <a:pt x="127" y="182"/>
                </a:lnTo>
                <a:lnTo>
                  <a:pt x="212" y="85"/>
                </a:lnTo>
                <a:lnTo>
                  <a:pt x="212" y="85"/>
                </a:lnTo>
                <a:lnTo>
                  <a:pt x="214" y="84"/>
                </a:lnTo>
                <a:lnTo>
                  <a:pt x="216" y="83"/>
                </a:lnTo>
                <a:lnTo>
                  <a:pt x="218" y="83"/>
                </a:lnTo>
                <a:lnTo>
                  <a:pt x="220" y="84"/>
                </a:lnTo>
                <a:lnTo>
                  <a:pt x="220" y="84"/>
                </a:lnTo>
                <a:lnTo>
                  <a:pt x="222" y="86"/>
                </a:lnTo>
                <a:lnTo>
                  <a:pt x="222" y="88"/>
                </a:lnTo>
                <a:lnTo>
                  <a:pt x="222" y="90"/>
                </a:lnTo>
                <a:lnTo>
                  <a:pt x="221" y="92"/>
                </a:lnTo>
                <a:lnTo>
                  <a:pt x="221" y="9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Graphic 3">
            <a:extLst>
              <a:ext uri="{FF2B5EF4-FFF2-40B4-BE49-F238E27FC236}">
                <a16:creationId xmlns:a16="http://schemas.microsoft.com/office/drawing/2014/main" id="{0C7B1248-FC8A-493B-BFBA-5E21A83941D3}"/>
              </a:ext>
            </a:extLst>
          </p:cNvPr>
          <p:cNvSpPr/>
          <p:nvPr userDrawn="1"/>
        </p:nvSpPr>
        <p:spPr>
          <a:xfrm>
            <a:off x="4145235" y="2521802"/>
            <a:ext cx="458788" cy="458788"/>
          </a:xfrm>
          <a:custGeom>
            <a:avLst/>
            <a:gdLst>
              <a:gd name="connsiteX0" fmla="*/ 1733550 w 3467100"/>
              <a:gd name="connsiteY0" fmla="*/ 3467100 h 3467100"/>
              <a:gd name="connsiteX1" fmla="*/ 0 w 3467100"/>
              <a:gd name="connsiteY1" fmla="*/ 1733550 h 3467100"/>
              <a:gd name="connsiteX2" fmla="*/ 1733550 w 3467100"/>
              <a:gd name="connsiteY2" fmla="*/ 0 h 3467100"/>
              <a:gd name="connsiteX3" fmla="*/ 3467100 w 3467100"/>
              <a:gd name="connsiteY3" fmla="*/ 1733550 h 3467100"/>
              <a:gd name="connsiteX4" fmla="*/ 1733550 w 3467100"/>
              <a:gd name="connsiteY4" fmla="*/ 3467100 h 3467100"/>
              <a:gd name="connsiteX5" fmla="*/ 1733550 w 3467100"/>
              <a:gd name="connsiteY5" fmla="*/ 114300 h 3467100"/>
              <a:gd name="connsiteX6" fmla="*/ 114300 w 3467100"/>
              <a:gd name="connsiteY6" fmla="*/ 1733550 h 3467100"/>
              <a:gd name="connsiteX7" fmla="*/ 1733550 w 3467100"/>
              <a:gd name="connsiteY7" fmla="*/ 3352800 h 3467100"/>
              <a:gd name="connsiteX8" fmla="*/ 3352800 w 3467100"/>
              <a:gd name="connsiteY8" fmla="*/ 1733550 h 3467100"/>
              <a:gd name="connsiteX9" fmla="*/ 1733550 w 3467100"/>
              <a:gd name="connsiteY9" fmla="*/ 114300 h 3467100"/>
              <a:gd name="connsiteX10" fmla="*/ 1733550 w 3467100"/>
              <a:gd name="connsiteY10" fmla="*/ 2552700 h 3467100"/>
              <a:gd name="connsiteX11" fmla="*/ 1004888 w 3467100"/>
              <a:gd name="connsiteY11" fmla="*/ 2228850 h 3467100"/>
              <a:gd name="connsiteX12" fmla="*/ 1009650 w 3467100"/>
              <a:gd name="connsiteY12" fmla="*/ 2147888 h 3467100"/>
              <a:gd name="connsiteX13" fmla="*/ 1047750 w 3467100"/>
              <a:gd name="connsiteY13" fmla="*/ 2133600 h 3467100"/>
              <a:gd name="connsiteX14" fmla="*/ 1090613 w 3467100"/>
              <a:gd name="connsiteY14" fmla="*/ 2152650 h 3467100"/>
              <a:gd name="connsiteX15" fmla="*/ 1733550 w 3467100"/>
              <a:gd name="connsiteY15" fmla="*/ 2438400 h 3467100"/>
              <a:gd name="connsiteX16" fmla="*/ 2376488 w 3467100"/>
              <a:gd name="connsiteY16" fmla="*/ 2152650 h 3467100"/>
              <a:gd name="connsiteX17" fmla="*/ 2419350 w 3467100"/>
              <a:gd name="connsiteY17" fmla="*/ 2133600 h 3467100"/>
              <a:gd name="connsiteX18" fmla="*/ 2457450 w 3467100"/>
              <a:gd name="connsiteY18" fmla="*/ 2147888 h 3467100"/>
              <a:gd name="connsiteX19" fmla="*/ 2462213 w 3467100"/>
              <a:gd name="connsiteY19" fmla="*/ 2228850 h 3467100"/>
              <a:gd name="connsiteX20" fmla="*/ 1733550 w 3467100"/>
              <a:gd name="connsiteY20" fmla="*/ 2552700 h 3467100"/>
              <a:gd name="connsiteX21" fmla="*/ 2343150 w 3467100"/>
              <a:gd name="connsiteY21" fmla="*/ 1638300 h 3467100"/>
              <a:gd name="connsiteX22" fmla="*/ 2133600 w 3467100"/>
              <a:gd name="connsiteY22" fmla="*/ 1428750 h 3467100"/>
              <a:gd name="connsiteX23" fmla="*/ 2343150 w 3467100"/>
              <a:gd name="connsiteY23" fmla="*/ 1219200 h 3467100"/>
              <a:gd name="connsiteX24" fmla="*/ 2552700 w 3467100"/>
              <a:gd name="connsiteY24" fmla="*/ 1428750 h 3467100"/>
              <a:gd name="connsiteX25" fmla="*/ 2343150 w 3467100"/>
              <a:gd name="connsiteY25" fmla="*/ 1638300 h 3467100"/>
              <a:gd name="connsiteX26" fmla="*/ 2343150 w 3467100"/>
              <a:gd name="connsiteY26" fmla="*/ 1333500 h 3467100"/>
              <a:gd name="connsiteX27" fmla="*/ 2247900 w 3467100"/>
              <a:gd name="connsiteY27" fmla="*/ 1428750 h 3467100"/>
              <a:gd name="connsiteX28" fmla="*/ 2343150 w 3467100"/>
              <a:gd name="connsiteY28" fmla="*/ 1524000 h 3467100"/>
              <a:gd name="connsiteX29" fmla="*/ 2438400 w 3467100"/>
              <a:gd name="connsiteY29" fmla="*/ 1428750 h 3467100"/>
              <a:gd name="connsiteX30" fmla="*/ 2343150 w 3467100"/>
              <a:gd name="connsiteY30" fmla="*/ 1333500 h 3467100"/>
              <a:gd name="connsiteX31" fmla="*/ 1123950 w 3467100"/>
              <a:gd name="connsiteY31" fmla="*/ 1638300 h 3467100"/>
              <a:gd name="connsiteX32" fmla="*/ 914400 w 3467100"/>
              <a:gd name="connsiteY32" fmla="*/ 1428750 h 3467100"/>
              <a:gd name="connsiteX33" fmla="*/ 1123950 w 3467100"/>
              <a:gd name="connsiteY33" fmla="*/ 1219200 h 3467100"/>
              <a:gd name="connsiteX34" fmla="*/ 1333500 w 3467100"/>
              <a:gd name="connsiteY34" fmla="*/ 1428750 h 3467100"/>
              <a:gd name="connsiteX35" fmla="*/ 1123950 w 3467100"/>
              <a:gd name="connsiteY35" fmla="*/ 1638300 h 3467100"/>
              <a:gd name="connsiteX36" fmla="*/ 1123950 w 3467100"/>
              <a:gd name="connsiteY36" fmla="*/ 1333500 h 3467100"/>
              <a:gd name="connsiteX37" fmla="*/ 1028700 w 3467100"/>
              <a:gd name="connsiteY37" fmla="*/ 1428750 h 3467100"/>
              <a:gd name="connsiteX38" fmla="*/ 1123950 w 3467100"/>
              <a:gd name="connsiteY38" fmla="*/ 1524000 h 3467100"/>
              <a:gd name="connsiteX39" fmla="*/ 1219200 w 3467100"/>
              <a:gd name="connsiteY39" fmla="*/ 1428750 h 3467100"/>
              <a:gd name="connsiteX40" fmla="*/ 1123950 w 3467100"/>
              <a:gd name="connsiteY40" fmla="*/ 1333500 h 346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467100" h="3467100">
                <a:moveTo>
                  <a:pt x="1733550" y="3467100"/>
                </a:moveTo>
                <a:cubicBezTo>
                  <a:pt x="777240" y="3467100"/>
                  <a:pt x="0" y="2689860"/>
                  <a:pt x="0" y="1733550"/>
                </a:cubicBezTo>
                <a:cubicBezTo>
                  <a:pt x="0" y="777240"/>
                  <a:pt x="777240" y="0"/>
                  <a:pt x="1733550" y="0"/>
                </a:cubicBezTo>
                <a:cubicBezTo>
                  <a:pt x="2689860" y="0"/>
                  <a:pt x="3467100" y="777240"/>
                  <a:pt x="3467100" y="1733550"/>
                </a:cubicBezTo>
                <a:cubicBezTo>
                  <a:pt x="3467100" y="2689860"/>
                  <a:pt x="2689860" y="3467100"/>
                  <a:pt x="1733550" y="3467100"/>
                </a:cubicBezTo>
                <a:close/>
                <a:moveTo>
                  <a:pt x="1733550" y="114300"/>
                </a:moveTo>
                <a:cubicBezTo>
                  <a:pt x="841058" y="114300"/>
                  <a:pt x="114300" y="841058"/>
                  <a:pt x="114300" y="1733550"/>
                </a:cubicBezTo>
                <a:cubicBezTo>
                  <a:pt x="114300" y="2626043"/>
                  <a:pt x="841058" y="3352800"/>
                  <a:pt x="1733550" y="3352800"/>
                </a:cubicBezTo>
                <a:cubicBezTo>
                  <a:pt x="2626043" y="3352800"/>
                  <a:pt x="3352800" y="2626043"/>
                  <a:pt x="3352800" y="1733550"/>
                </a:cubicBezTo>
                <a:cubicBezTo>
                  <a:pt x="3352800" y="841058"/>
                  <a:pt x="2626043" y="114300"/>
                  <a:pt x="1733550" y="114300"/>
                </a:cubicBezTo>
                <a:close/>
                <a:moveTo>
                  <a:pt x="1733550" y="2552700"/>
                </a:moveTo>
                <a:cubicBezTo>
                  <a:pt x="1454468" y="2552700"/>
                  <a:pt x="1189673" y="2434590"/>
                  <a:pt x="1004888" y="2228850"/>
                </a:cubicBezTo>
                <a:cubicBezTo>
                  <a:pt x="983933" y="2205038"/>
                  <a:pt x="985838" y="2168843"/>
                  <a:pt x="1009650" y="2147888"/>
                </a:cubicBezTo>
                <a:cubicBezTo>
                  <a:pt x="1020128" y="2138363"/>
                  <a:pt x="1033463" y="2133600"/>
                  <a:pt x="1047750" y="2133600"/>
                </a:cubicBezTo>
                <a:cubicBezTo>
                  <a:pt x="1063943" y="2133600"/>
                  <a:pt x="1079183" y="2140268"/>
                  <a:pt x="1090613" y="2152650"/>
                </a:cubicBezTo>
                <a:cubicBezTo>
                  <a:pt x="1253490" y="2334578"/>
                  <a:pt x="1487805" y="2438400"/>
                  <a:pt x="1733550" y="2438400"/>
                </a:cubicBezTo>
                <a:cubicBezTo>
                  <a:pt x="1980248" y="2438400"/>
                  <a:pt x="2214563" y="2334578"/>
                  <a:pt x="2376488" y="2152650"/>
                </a:cubicBezTo>
                <a:cubicBezTo>
                  <a:pt x="2386965" y="2140268"/>
                  <a:pt x="2403158" y="2133600"/>
                  <a:pt x="2419350" y="2133600"/>
                </a:cubicBezTo>
                <a:cubicBezTo>
                  <a:pt x="2433638" y="2133600"/>
                  <a:pt x="2446973" y="2138363"/>
                  <a:pt x="2457450" y="2147888"/>
                </a:cubicBezTo>
                <a:cubicBezTo>
                  <a:pt x="2481263" y="2168843"/>
                  <a:pt x="2483168" y="2205038"/>
                  <a:pt x="2462213" y="2228850"/>
                </a:cubicBezTo>
                <a:cubicBezTo>
                  <a:pt x="2277428" y="2434590"/>
                  <a:pt x="2012633" y="2552700"/>
                  <a:pt x="1733550" y="2552700"/>
                </a:cubicBezTo>
                <a:close/>
                <a:moveTo>
                  <a:pt x="2343150" y="1638300"/>
                </a:moveTo>
                <a:cubicBezTo>
                  <a:pt x="2227898" y="1638300"/>
                  <a:pt x="2133600" y="1544003"/>
                  <a:pt x="2133600" y="1428750"/>
                </a:cubicBezTo>
                <a:cubicBezTo>
                  <a:pt x="2133600" y="1313498"/>
                  <a:pt x="2227898" y="1219200"/>
                  <a:pt x="2343150" y="1219200"/>
                </a:cubicBezTo>
                <a:cubicBezTo>
                  <a:pt x="2458403" y="1219200"/>
                  <a:pt x="2552700" y="1313498"/>
                  <a:pt x="2552700" y="1428750"/>
                </a:cubicBezTo>
                <a:cubicBezTo>
                  <a:pt x="2552700" y="1544003"/>
                  <a:pt x="2458403" y="1638300"/>
                  <a:pt x="2343150" y="1638300"/>
                </a:cubicBezTo>
                <a:close/>
                <a:moveTo>
                  <a:pt x="2343150" y="1333500"/>
                </a:moveTo>
                <a:cubicBezTo>
                  <a:pt x="2290763" y="1333500"/>
                  <a:pt x="2247900" y="1376363"/>
                  <a:pt x="2247900" y="1428750"/>
                </a:cubicBezTo>
                <a:cubicBezTo>
                  <a:pt x="2247900" y="1481138"/>
                  <a:pt x="2290763" y="1524000"/>
                  <a:pt x="2343150" y="1524000"/>
                </a:cubicBezTo>
                <a:cubicBezTo>
                  <a:pt x="2395538" y="1524000"/>
                  <a:pt x="2438400" y="1481138"/>
                  <a:pt x="2438400" y="1428750"/>
                </a:cubicBezTo>
                <a:cubicBezTo>
                  <a:pt x="2438400" y="1376363"/>
                  <a:pt x="2395538" y="1333500"/>
                  <a:pt x="2343150" y="1333500"/>
                </a:cubicBezTo>
                <a:close/>
                <a:moveTo>
                  <a:pt x="1123950" y="1638300"/>
                </a:moveTo>
                <a:cubicBezTo>
                  <a:pt x="1008698" y="1638300"/>
                  <a:pt x="914400" y="1544003"/>
                  <a:pt x="914400" y="1428750"/>
                </a:cubicBezTo>
                <a:cubicBezTo>
                  <a:pt x="914400" y="1313498"/>
                  <a:pt x="1008698" y="1219200"/>
                  <a:pt x="1123950" y="1219200"/>
                </a:cubicBezTo>
                <a:cubicBezTo>
                  <a:pt x="1239203" y="1219200"/>
                  <a:pt x="1333500" y="1313498"/>
                  <a:pt x="1333500" y="1428750"/>
                </a:cubicBezTo>
                <a:cubicBezTo>
                  <a:pt x="1333500" y="1544003"/>
                  <a:pt x="1239203" y="1638300"/>
                  <a:pt x="1123950" y="1638300"/>
                </a:cubicBezTo>
                <a:close/>
                <a:moveTo>
                  <a:pt x="1123950" y="1333500"/>
                </a:moveTo>
                <a:cubicBezTo>
                  <a:pt x="1071563" y="1333500"/>
                  <a:pt x="1028700" y="1376363"/>
                  <a:pt x="1028700" y="1428750"/>
                </a:cubicBezTo>
                <a:cubicBezTo>
                  <a:pt x="1028700" y="1481138"/>
                  <a:pt x="1071563" y="1524000"/>
                  <a:pt x="1123950" y="1524000"/>
                </a:cubicBezTo>
                <a:cubicBezTo>
                  <a:pt x="1176338" y="1524000"/>
                  <a:pt x="1219200" y="1481138"/>
                  <a:pt x="1219200" y="1428750"/>
                </a:cubicBezTo>
                <a:cubicBezTo>
                  <a:pt x="1219200" y="1376363"/>
                  <a:pt x="1176338" y="1333500"/>
                  <a:pt x="1123950" y="1333500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61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4A5E2049-F7C0-4BFC-8498-4BB9D3C890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588" y="1"/>
            <a:ext cx="39354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5" y="1597"/>
          <a:ext cx="154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5" y="1597"/>
                        <a:ext cx="154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DDE51329-1F73-4BDB-95DE-10EE5F66F590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495550" y="6448552"/>
            <a:ext cx="550143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0442EC10-FD62-4C89-82B3-9F3762580B7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6712" y="188913"/>
            <a:ext cx="7660558" cy="588605"/>
          </a:xfrm>
          <a:prstGeom prst="rect">
            <a:avLst/>
          </a:prstGeom>
        </p:spPr>
        <p:txBody>
          <a:bodyPr vert="horz" wrap="square" lIns="72000" tIns="72000" rIns="72000" bIns="72000" rtlCol="0" anchor="t">
            <a:spAutoFit/>
          </a:bodyPr>
          <a:lstStyle>
            <a:lvl1pPr>
              <a:defRPr spc="0" baseline="0"/>
            </a:lvl1pPr>
          </a:lstStyle>
          <a:p>
            <a:r>
              <a:rPr lang="sv-SE" dirty="0"/>
              <a:t>AGENDA SLIDE</a:t>
            </a:r>
            <a:endParaRPr lang="en-US" dirty="0"/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4A507759-A7CC-46A1-BE9F-1253101EF62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54119" y="1146580"/>
            <a:ext cx="6942866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D9CE5031-2B57-4403-AF4F-57596534C8C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55689" y="1966782"/>
            <a:ext cx="6941577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ACCFAE9C-20C1-4114-A092-1017F507F3A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55692" y="2783763"/>
            <a:ext cx="6941578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6EBF8702-0243-4CC0-9DAA-4DA74B1CC5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54119" y="3600744"/>
            <a:ext cx="6942866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14BC3B67-FCD1-4D0A-B6B4-286BC06124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55687" y="4417725"/>
            <a:ext cx="6941579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7B5186B0-C112-4DDA-9C2A-ACC289D340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55688" y="5234703"/>
            <a:ext cx="6941577" cy="606425"/>
          </a:xfrm>
          <a:prstGeom prst="rect">
            <a:avLst/>
          </a:prstGeom>
          <a:ln>
            <a:noFill/>
          </a:ln>
        </p:spPr>
        <p:txBody>
          <a:bodyPr lIns="0" anchor="ctr" anchorCtr="0"/>
          <a:lstStyle>
            <a:lvl1pPr marL="0" indent="0">
              <a:buFontTx/>
              <a:buNone/>
              <a:defRPr lang="en-US" sz="2400" b="0" i="0" kern="1200" dirty="0" smtClean="0">
                <a:solidFill>
                  <a:schemeClr val="tx1"/>
                </a:solidFill>
                <a:latin typeface="+mn-lt"/>
                <a:ea typeface="Avenir LT Std 45 Book" panose="020B0502020203020204" pitchFamily="34" charset="0"/>
                <a:cs typeface="Segoe UI" panose="020B0502040204020203" pitchFamily="34" charset="0"/>
              </a:defRPr>
            </a:lvl1pPr>
            <a:lvl2pPr marL="350210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615192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880175" indent="0">
              <a:buFontTx/>
              <a:buNone/>
              <a:defRPr lang="en-US" sz="2343" b="0" i="0" kern="1200" dirty="0" smtClean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134310" indent="0">
              <a:buFontTx/>
              <a:buNone/>
              <a:defRPr lang="en-US" sz="2343" b="0" i="0" kern="1200" dirty="0">
                <a:solidFill>
                  <a:srgbClr val="575756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4" name="Text Placeholder 12">
            <a:extLst>
              <a:ext uri="{FF2B5EF4-FFF2-40B4-BE49-F238E27FC236}">
                <a16:creationId xmlns:a16="http://schemas.microsoft.com/office/drawing/2014/main" id="{132FDF59-CCAF-4CBD-A463-8CC213AA5D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2951" y="1146580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1</a:t>
            </a:r>
            <a:endParaRPr lang="en-US" dirty="0"/>
          </a:p>
        </p:txBody>
      </p:sp>
      <p:sp>
        <p:nvSpPr>
          <p:cNvPr id="66" name="Text Placeholder 12">
            <a:extLst>
              <a:ext uri="{FF2B5EF4-FFF2-40B4-BE49-F238E27FC236}">
                <a16:creationId xmlns:a16="http://schemas.microsoft.com/office/drawing/2014/main" id="{05F655F0-EB41-4DB2-9C83-3ADEBD92D5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2951" y="1966782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2</a:t>
            </a:r>
            <a:endParaRPr lang="en-US" dirty="0"/>
          </a:p>
        </p:txBody>
      </p:sp>
      <p:sp>
        <p:nvSpPr>
          <p:cNvPr id="68" name="Text Placeholder 12">
            <a:extLst>
              <a:ext uri="{FF2B5EF4-FFF2-40B4-BE49-F238E27FC236}">
                <a16:creationId xmlns:a16="http://schemas.microsoft.com/office/drawing/2014/main" id="{59C6EF33-5493-4EA2-9CF6-A008181D446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2951" y="2783763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3</a:t>
            </a:r>
            <a:endParaRPr lang="en-US" dirty="0"/>
          </a:p>
        </p:txBody>
      </p:sp>
      <p:sp>
        <p:nvSpPr>
          <p:cNvPr id="70" name="Text Placeholder 12">
            <a:extLst>
              <a:ext uri="{FF2B5EF4-FFF2-40B4-BE49-F238E27FC236}">
                <a16:creationId xmlns:a16="http://schemas.microsoft.com/office/drawing/2014/main" id="{FCA5BC98-C3AB-4E6D-A976-867F495F123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42951" y="3600744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4</a:t>
            </a:r>
            <a:endParaRPr lang="en-US" dirty="0"/>
          </a:p>
        </p:txBody>
      </p:sp>
      <p:sp>
        <p:nvSpPr>
          <p:cNvPr id="72" name="Text Placeholder 12">
            <a:extLst>
              <a:ext uri="{FF2B5EF4-FFF2-40B4-BE49-F238E27FC236}">
                <a16:creationId xmlns:a16="http://schemas.microsoft.com/office/drawing/2014/main" id="{5E259D97-3A0A-41B1-A563-EC04D269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2951" y="4417725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5</a:t>
            </a:r>
            <a:endParaRPr lang="en-US" dirty="0"/>
          </a:p>
        </p:txBody>
      </p:sp>
      <p:sp>
        <p:nvSpPr>
          <p:cNvPr id="73" name="Text Placeholder 12">
            <a:extLst>
              <a:ext uri="{FF2B5EF4-FFF2-40B4-BE49-F238E27FC236}">
                <a16:creationId xmlns:a16="http://schemas.microsoft.com/office/drawing/2014/main" id="{BAC58578-9EEC-4B68-960B-093B4D20E1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42951" y="5234705"/>
            <a:ext cx="712738" cy="596900"/>
          </a:xfrm>
          <a:prstGeom prst="rect">
            <a:avLst/>
          </a:prstGeom>
          <a:ln>
            <a:noFill/>
          </a:ln>
        </p:spPr>
        <p:txBody>
          <a:bodyPr lIns="0" tIns="46800" rIns="90000" bIns="46800" anchor="ctr" anchorCtr="0"/>
          <a:lstStyle>
            <a:lvl1pPr marL="0" indent="0">
              <a:buFont typeface="Arial" panose="020B0604020202020204" pitchFamily="34" charset="0"/>
              <a:buNone/>
              <a:defRPr lang="en-US" sz="2800" b="1" i="0" kern="1200" dirty="0">
                <a:solidFill>
                  <a:srgbClr val="D21034"/>
                </a:solidFill>
                <a:latin typeface="+mj-lt"/>
                <a:ea typeface="Avenir LT Std 55 Roman" panose="020B0503020203020204" pitchFamily="34" charset="0"/>
                <a:cs typeface="Segoe UI Semibold" panose="020B0702040204020203" pitchFamily="34" charset="0"/>
              </a:defRPr>
            </a:lvl1pPr>
          </a:lstStyle>
          <a:p>
            <a:pPr marL="264983" lvl="0" indent="-264983" algn="l" defTabSz="89253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90"/>
              </a:spcAft>
              <a:buSzPct val="100000"/>
            </a:pPr>
            <a:r>
              <a:rPr lang="sv-SE" dirty="0"/>
              <a:t>06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9A9282F-58AC-48BA-A9E3-6065BF79A4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4B26EEF-B2DA-46C2-A77E-CF1909A608C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336019" y="6410221"/>
            <a:ext cx="1439338" cy="26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8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04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1_light 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white">
            <a:extLst>
              <a:ext uri="{FF2B5EF4-FFF2-40B4-BE49-F238E27FC236}">
                <a16:creationId xmlns:a16="http://schemas.microsoft.com/office/drawing/2014/main" id="{D2BCC46F-B88F-4DAA-BF79-8DC79B152A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6725" y="2001347"/>
            <a:ext cx="5040312" cy="2160588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816726" y="4161935"/>
            <a:ext cx="5040312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None/>
              <a:defRPr sz="12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FB24FB-A04A-4357-870F-B09FD72E4D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logo dark">
            <a:extLst>
              <a:ext uri="{FF2B5EF4-FFF2-40B4-BE49-F238E27FC236}">
                <a16:creationId xmlns:a16="http://schemas.microsoft.com/office/drawing/2014/main" id="{1C289150-747A-4AE7-9738-4227369B0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09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1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fade dark">
            <a:extLst>
              <a:ext uri="{FF2B5EF4-FFF2-40B4-BE49-F238E27FC236}">
                <a16:creationId xmlns:a16="http://schemas.microsoft.com/office/drawing/2014/main" id="{08E0DBAB-0433-4E6B-B784-DB189B7D70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F7F498A-D7C3-44A9-B808-371F68358FE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816725" y="2001347"/>
            <a:ext cx="5040312" cy="2160588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869B536-015A-40BB-93D2-1DB031FFA52F}"/>
              </a:ext>
            </a:extLst>
          </p:cNvPr>
          <p:cNvSpPr>
            <a:spLocks noGrp="1"/>
          </p:cNvSpPr>
          <p:nvPr userDrawn="1">
            <p:ph type="subTitle" idx="11" hasCustomPrompt="1"/>
          </p:nvPr>
        </p:nvSpPr>
        <p:spPr>
          <a:xfrm>
            <a:off x="6816726" y="4161935"/>
            <a:ext cx="5040312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 b="0" spc="1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8358173-3BF0-476C-BA92-61E726B14B9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logo white">
            <a:extLst>
              <a:ext uri="{FF2B5EF4-FFF2-40B4-BE49-F238E27FC236}">
                <a16:creationId xmlns:a16="http://schemas.microsoft.com/office/drawing/2014/main" id="{37AAD589-374B-44B4-BE14-77CC0BD56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20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2_ligh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ade white">
            <a:extLst>
              <a:ext uri="{FF2B5EF4-FFF2-40B4-BE49-F238E27FC236}">
                <a16:creationId xmlns:a16="http://schemas.microsoft.com/office/drawing/2014/main" id="{7B24B560-F99C-4DD1-AD36-5589DB87A1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logo dark">
            <a:extLst>
              <a:ext uri="{FF2B5EF4-FFF2-40B4-BE49-F238E27FC236}">
                <a16:creationId xmlns:a16="http://schemas.microsoft.com/office/drawing/2014/main" id="{DE8FF2BE-731A-443F-8E26-58E5DC36B1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5688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251D9D-94B7-4CB3-8822-97365BCF3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3429000"/>
            <a:ext cx="10080626" cy="143986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1BAF02E-F090-49A7-9634-0BBB1F0B7929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1054294" y="4868863"/>
            <a:ext cx="10082793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 b="0" spc="1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D0486B-3B9F-4CA7-B0E4-456C813ADC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1742536"/>
            <a:ext cx="1439862" cy="1439864"/>
          </a:xfrm>
          <a:prstGeom prst="rect">
            <a:avLst/>
          </a:prstGeom>
          <a:ln w="571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7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7F774A8A-654D-4F84-A4E3-526E4A46FD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449C0AF-611B-4972-808F-5572F1D6A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9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_2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9A04436-FDA8-47CB-B6B7-8C62C4F3E90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fade dark">
            <a:extLst>
              <a:ext uri="{FF2B5EF4-FFF2-40B4-BE49-F238E27FC236}">
                <a16:creationId xmlns:a16="http://schemas.microsoft.com/office/drawing/2014/main" id="{F1D77F70-D73E-4BA7-A850-217A8024AD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logo white">
            <a:extLst>
              <a:ext uri="{FF2B5EF4-FFF2-40B4-BE49-F238E27FC236}">
                <a16:creationId xmlns:a16="http://schemas.microsoft.com/office/drawing/2014/main" id="{7475E265-2FCF-4276-A2F8-31D11D33E8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6410160"/>
            <a:ext cx="1440000" cy="266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  <a:lvl2pPr marL="350210" indent="0">
              <a:buFontTx/>
              <a:buNone/>
              <a:defRPr/>
            </a:lvl2pPr>
            <a:lvl3pPr marL="615193" indent="0">
              <a:buFontTx/>
              <a:buNone/>
              <a:defRPr/>
            </a:lvl3pPr>
            <a:lvl4pPr marL="880176" indent="0">
              <a:buFontTx/>
              <a:buNone/>
              <a:defRPr/>
            </a:lvl4pPr>
            <a:lvl5pPr marL="1134309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3689B4D-A356-4737-8FA7-E176232F37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5550" y="6448552"/>
            <a:ext cx="7921625" cy="191055"/>
          </a:xfrm>
          <a:prstGeom prst="rect">
            <a:avLst/>
          </a:prstGeom>
        </p:spPr>
        <p:txBody>
          <a:bodyPr vert="horz" lIns="0" tIns="72000" rIns="7200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D0486B-3B9F-4CA7-B0E4-456C813ADC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1742536"/>
            <a:ext cx="1439862" cy="1439864"/>
          </a:xfrm>
          <a:prstGeom prst="rect">
            <a:avLst/>
          </a:prstGeom>
          <a:ln w="5715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7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453E384-6AFB-4AB6-872E-2E9FEE5CE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3429000"/>
            <a:ext cx="10080626" cy="1439863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>
              <a:defRPr sz="44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 NICE PLACE TO MAKE A BREAK SECTIO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3F5630-663B-4062-A431-01092910D9E1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1054294" y="4868863"/>
            <a:ext cx="10082793" cy="47412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200" b="0" spc="1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AD0412-A2EF-460F-B53C-859A7CEC55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9716" y="6364079"/>
            <a:ext cx="817322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81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9786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105" r:id="rId2"/>
    <p:sldLayoutId id="2147484112" r:id="rId3"/>
    <p:sldLayoutId id="2147484110" r:id="rId4"/>
    <p:sldLayoutId id="2147484096" r:id="rId5"/>
    <p:sldLayoutId id="2147484102" r:id="rId6"/>
    <p:sldLayoutId id="2147484099" r:id="rId7"/>
    <p:sldLayoutId id="2147484103" r:id="rId8"/>
    <p:sldLayoutId id="2147484101" r:id="rId9"/>
    <p:sldLayoutId id="2147484104" r:id="rId10"/>
    <p:sldLayoutId id="2147484100" r:id="rId11"/>
    <p:sldLayoutId id="2147484098" r:id="rId12"/>
    <p:sldLayoutId id="2147484106" r:id="rId13"/>
    <p:sldLayoutId id="2147484069" r:id="rId14"/>
    <p:sldLayoutId id="2147484079" r:id="rId15"/>
    <p:sldLayoutId id="2147484080" r:id="rId16"/>
    <p:sldLayoutId id="2147484094" r:id="rId17"/>
    <p:sldLayoutId id="2147484095" r:id="rId18"/>
    <p:sldLayoutId id="2147484082" r:id="rId19"/>
    <p:sldLayoutId id="2147484093" r:id="rId20"/>
    <p:sldLayoutId id="2147484086" r:id="rId21"/>
    <p:sldLayoutId id="2147484107" r:id="rId22"/>
    <p:sldLayoutId id="2147484109" r:id="rId23"/>
    <p:sldLayoutId id="2147484084" r:id="rId24"/>
    <p:sldLayoutId id="2147484085" r:id="rId25"/>
    <p:sldLayoutId id="2147484087" r:id="rId26"/>
    <p:sldLayoutId id="2147484088" r:id="rId27"/>
    <p:sldLayoutId id="2147484089" r:id="rId28"/>
    <p:sldLayoutId id="2147484090" r:id="rId29"/>
    <p:sldLayoutId id="2147484108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892535" rtl="0" eaLnBrk="1" latinLnBrk="0" hangingPunct="1">
        <a:lnSpc>
          <a:spcPct val="90000"/>
        </a:lnSpc>
        <a:spcBef>
          <a:spcPct val="0"/>
        </a:spcBef>
        <a:buNone/>
        <a:defRPr lang="en-US" sz="3200" b="1" kern="1200" cap="none" spc="-98" baseline="0" dirty="0" smtClean="0">
          <a:ln w="3175">
            <a:noFill/>
          </a:ln>
          <a:solidFill>
            <a:schemeClr val="accent1"/>
          </a:solidFill>
          <a:effectLst/>
          <a:latin typeface="+mj-lt"/>
          <a:ea typeface="+mn-ea"/>
          <a:cs typeface="Arial" charset="0"/>
        </a:defRPr>
      </a:lvl1pPr>
    </p:titleStyle>
    <p:bodyStyle>
      <a:lvl1pPr marL="264983" indent="-264983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15193" indent="-264983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tabLst>
          <a:tab pos="615193" algn="l"/>
        </a:tabLst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84099" indent="-168906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49082" indent="-168906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tabLst>
          <a:tab pos="892572" algn="l"/>
        </a:tabLst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4064" indent="-179755" algn="l" defTabSz="892535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90000"/>
        <a:buFont typeface="Arial" pitchFamily="34" charset="0"/>
        <a:buChar char="•"/>
        <a:defRPr lang="en-US" sz="11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454474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6pPr>
      <a:lvl7pPr marL="2900742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7pPr>
      <a:lvl8pPr marL="3347010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8pPr>
      <a:lvl9pPr marL="3793279" indent="-223135" algn="l" defTabSz="892535" rtl="0" eaLnBrk="1" latinLnBrk="0" hangingPunct="1">
        <a:spcBef>
          <a:spcPct val="20000"/>
        </a:spcBef>
        <a:buFont typeface="Arial" pitchFamily="34" charset="0"/>
        <a:buChar char="•"/>
        <a:defRPr sz="19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1pPr>
      <a:lvl2pPr marL="446267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2pPr>
      <a:lvl3pPr marL="892535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3pPr>
      <a:lvl4pPr marL="1338804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4pPr>
      <a:lvl5pPr marL="1785072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5pPr>
      <a:lvl6pPr marL="2231340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6pPr>
      <a:lvl7pPr marL="2677606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7pPr>
      <a:lvl8pPr marL="3123875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8pPr>
      <a:lvl9pPr marL="3570144" algn="l" defTabSz="892535" rtl="0" eaLnBrk="1" latinLnBrk="0" hangingPunct="1">
        <a:defRPr sz="17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386" userDrawn="1">
          <p15:clr>
            <a:srgbClr val="A4A3A4"/>
          </p15:clr>
        </p15:guide>
        <p15:guide id="4" pos="2933" userDrawn="1">
          <p15:clr>
            <a:srgbClr val="A4A3A4"/>
          </p15:clr>
        </p15:guide>
        <p15:guide id="5" pos="2479" userDrawn="1">
          <p15:clr>
            <a:srgbClr val="5ACBF0"/>
          </p15:clr>
        </p15:guide>
        <p15:guide id="6" pos="2026" userDrawn="1">
          <p15:clr>
            <a:srgbClr val="A4A3A4"/>
          </p15:clr>
        </p15:guide>
        <p15:guide id="7" pos="1572" userDrawn="1">
          <p15:clr>
            <a:srgbClr val="A4A3A4"/>
          </p15:clr>
        </p15:guide>
        <p15:guide id="8" pos="1118" userDrawn="1">
          <p15:clr>
            <a:srgbClr val="A4A3A4"/>
          </p15:clr>
        </p15:guide>
        <p15:guide id="9" pos="665" userDrawn="1">
          <p15:clr>
            <a:srgbClr val="A4A3A4"/>
          </p15:clr>
        </p15:guide>
        <p15:guide id="10" pos="211" userDrawn="1">
          <p15:clr>
            <a:srgbClr val="F26B43"/>
          </p15:clr>
        </p15:guide>
        <p15:guide id="11" pos="4294" userDrawn="1">
          <p15:clr>
            <a:srgbClr val="A4A3A4"/>
          </p15:clr>
        </p15:guide>
        <p15:guide id="12" pos="4747" userDrawn="1">
          <p15:clr>
            <a:srgbClr val="A4A3A4"/>
          </p15:clr>
        </p15:guide>
        <p15:guide id="13" pos="5201" userDrawn="1">
          <p15:clr>
            <a:srgbClr val="5ACBF0"/>
          </p15:clr>
        </p15:guide>
        <p15:guide id="14" pos="5654" userDrawn="1">
          <p15:clr>
            <a:srgbClr val="A4A3A4"/>
          </p15:clr>
        </p15:guide>
        <p15:guide id="15" pos="6108" userDrawn="1">
          <p15:clr>
            <a:srgbClr val="A4A3A4"/>
          </p15:clr>
        </p15:guide>
        <p15:guide id="16" pos="6562" userDrawn="1">
          <p15:clr>
            <a:srgbClr val="A4A3A4"/>
          </p15:clr>
        </p15:guide>
        <p15:guide id="17" pos="7015" userDrawn="1">
          <p15:clr>
            <a:srgbClr val="A4A3A4"/>
          </p15:clr>
        </p15:guide>
        <p15:guide id="18" pos="7469" userDrawn="1">
          <p15:clr>
            <a:srgbClr val="F26B43"/>
          </p15:clr>
        </p15:guide>
        <p15:guide id="19" orient="horz" pos="1706" userDrawn="1">
          <p15:clr>
            <a:srgbClr val="A4A3A4"/>
          </p15:clr>
        </p15:guide>
        <p15:guide id="20" orient="horz" pos="1253" userDrawn="1">
          <p15:clr>
            <a:srgbClr val="A4A3A4"/>
          </p15:clr>
        </p15:guide>
        <p15:guide id="21" orient="horz" pos="799" userDrawn="1">
          <p15:clr>
            <a:srgbClr val="A4A3A4"/>
          </p15:clr>
        </p15:guide>
        <p15:guide id="22" orient="horz" pos="346" userDrawn="1">
          <p15:clr>
            <a:srgbClr val="A4A3A4"/>
          </p15:clr>
        </p15:guide>
        <p15:guide id="23" orient="horz" pos="119" userDrawn="1">
          <p15:clr>
            <a:srgbClr val="F26B43"/>
          </p15:clr>
        </p15:guide>
        <p15:guide id="24" orient="horz" pos="2614" userDrawn="1">
          <p15:clr>
            <a:srgbClr val="A4A3A4"/>
          </p15:clr>
        </p15:guide>
        <p15:guide id="25" orient="horz" pos="3067" userDrawn="1">
          <p15:clr>
            <a:srgbClr val="A4A3A4"/>
          </p15:clr>
        </p15:guide>
        <p15:guide id="26" orient="horz" pos="3521" userDrawn="1">
          <p15:clr>
            <a:srgbClr val="A4A3A4"/>
          </p15:clr>
        </p15:guide>
        <p15:guide id="27" orient="horz" pos="3974" userDrawn="1">
          <p15:clr>
            <a:srgbClr val="F26B43"/>
          </p15:clr>
        </p15:guide>
        <p15:guide id="28" orient="horz" pos="42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az.aroapp.io/stable" TargetMode="Externa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redhat.com/openshift/install/azure/aro-provisioned" TargetMode="Externa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9F18A1A5-4B08-44E2-8C83-46FDCAB6F7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7F2D3-88BA-4801-B789-3AA1CDCD44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402EE5-1827-49F9-8C12-5AA207AF0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8000" spc="500" dirty="0">
                <a:gradFill flip="none" rotWithShape="1">
                  <a:gsLst>
                    <a:gs pos="0">
                      <a:schemeClr val="accent1">
                        <a:shade val="30000"/>
                        <a:satMod val="115000"/>
                      </a:schemeClr>
                    </a:gs>
                    <a:gs pos="50000">
                      <a:schemeClr val="accent1">
                        <a:shade val="67500"/>
                        <a:satMod val="115000"/>
                      </a:schemeClr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lin ang="0" scaled="1"/>
                  <a:tileRect/>
                </a:gradFill>
              </a:rPr>
              <a:t>SoftwareONE</a:t>
            </a:r>
            <a:endParaRPr lang="en-US" sz="8000" dirty="0"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5F8CFCC-8E77-4908-9A47-BAD10B7D5FB5}"/>
              </a:ext>
            </a:extLst>
          </p:cNvPr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r>
              <a:rPr lang="de-DE" dirty="0"/>
              <a:t>WELCOME TO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46587D-B26E-4BA0-9D85-FD691D8A44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85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tr-TR" sz="3000" dirty="0" err="1"/>
              <a:t>Day</a:t>
            </a:r>
            <a:r>
              <a:rPr lang="tr-TR" sz="3000" dirty="0"/>
              <a:t> 2</a:t>
            </a:r>
            <a:r>
              <a:rPr lang="tr-TR" sz="3000" dirty="0" smtClean="0"/>
              <a:t>: </a:t>
            </a:r>
            <a:r>
              <a:rPr lang="tr-TR" dirty="0" err="1" smtClean="0"/>
              <a:t>OpenShift</a:t>
            </a:r>
            <a:r>
              <a:rPr lang="tr-TR" dirty="0" smtClean="0"/>
              <a:t> </a:t>
            </a:r>
            <a:r>
              <a:rPr lang="tr-TR" dirty="0" err="1" smtClean="0"/>
              <a:t>Evangelists</a:t>
            </a:r>
            <a:r>
              <a:rPr lang="tr-TR" dirty="0" smtClean="0"/>
              <a:t> Workshop</a:t>
            </a:r>
            <a:endParaRPr lang="tr-TR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6774" y="1133955"/>
            <a:ext cx="11522075" cy="4875211"/>
          </a:xfrm>
        </p:spPr>
        <p:txBody>
          <a:bodyPr/>
          <a:lstStyle/>
          <a:p>
            <a:r>
              <a:rPr lang="tr-TR" sz="950" dirty="0" smtClean="0"/>
              <a:t>Environment </a:t>
            </a:r>
            <a:r>
              <a:rPr lang="tr-TR" sz="950" dirty="0" err="1"/>
              <a:t>Overview</a:t>
            </a:r>
            <a:endParaRPr lang="tr-TR" sz="950" dirty="0"/>
          </a:p>
          <a:p>
            <a:r>
              <a:rPr lang="tr-TR" sz="950" dirty="0" err="1" smtClean="0"/>
              <a:t>Installing</a:t>
            </a:r>
            <a:r>
              <a:rPr lang="tr-TR" sz="950" dirty="0" smtClean="0"/>
              <a:t> </a:t>
            </a:r>
            <a:r>
              <a:rPr lang="tr-TR" sz="950" dirty="0" err="1"/>
              <a:t>the</a:t>
            </a:r>
            <a:r>
              <a:rPr lang="tr-TR" sz="950" dirty="0"/>
              <a:t> *</a:t>
            </a:r>
            <a:r>
              <a:rPr lang="tr-TR" sz="950" dirty="0" err="1"/>
              <a:t>oc</a:t>
            </a:r>
            <a:r>
              <a:rPr lang="tr-TR" sz="950" dirty="0"/>
              <a:t>* </a:t>
            </a:r>
            <a:r>
              <a:rPr lang="tr-TR" sz="950" dirty="0" err="1"/>
              <a:t>client</a:t>
            </a:r>
            <a:r>
              <a:rPr lang="tr-TR" sz="950" dirty="0"/>
              <a:t> </a:t>
            </a:r>
            <a:r>
              <a:rPr lang="tr-TR" sz="950" dirty="0" err="1"/>
              <a:t>tool</a:t>
            </a:r>
            <a:endParaRPr lang="tr-TR" sz="950" dirty="0"/>
          </a:p>
          <a:p>
            <a:r>
              <a:rPr lang="tr-TR" sz="950" dirty="0" err="1" smtClean="0"/>
              <a:t>Exploring</a:t>
            </a:r>
            <a:r>
              <a:rPr lang="tr-TR" sz="950" dirty="0" smtClean="0"/>
              <a:t> </a:t>
            </a:r>
            <a:r>
              <a:rPr lang="tr-TR" sz="950" dirty="0" err="1"/>
              <a:t>the</a:t>
            </a:r>
            <a:r>
              <a:rPr lang="tr-TR" sz="950" dirty="0"/>
              <a:t> CLI </a:t>
            </a:r>
            <a:r>
              <a:rPr lang="tr-TR" sz="950" dirty="0" err="1"/>
              <a:t>and</a:t>
            </a:r>
            <a:r>
              <a:rPr lang="tr-TR" sz="950" dirty="0"/>
              <a:t> Web Console</a:t>
            </a:r>
          </a:p>
          <a:p>
            <a:r>
              <a:rPr lang="tr-TR" sz="950" dirty="0" smtClean="0"/>
              <a:t>Architecture </a:t>
            </a:r>
            <a:r>
              <a:rPr lang="tr-TR" sz="950" dirty="0" err="1" smtClean="0"/>
              <a:t>Overview</a:t>
            </a:r>
            <a:endParaRPr lang="tr-TR" sz="950" dirty="0"/>
          </a:p>
          <a:p>
            <a:r>
              <a:rPr lang="tr-TR" sz="950" dirty="0" err="1" smtClean="0"/>
              <a:t>Deploying</a:t>
            </a:r>
            <a:r>
              <a:rPr lang="tr-TR" sz="950" dirty="0" smtClean="0"/>
              <a:t> </a:t>
            </a:r>
            <a:r>
              <a:rPr lang="tr-TR" sz="950" dirty="0" err="1"/>
              <a:t>Your</a:t>
            </a:r>
            <a:r>
              <a:rPr lang="tr-TR" sz="950" dirty="0"/>
              <a:t> First </a:t>
            </a:r>
            <a:r>
              <a:rPr lang="tr-TR" sz="950" dirty="0" err="1"/>
              <a:t>Container</a:t>
            </a:r>
            <a:r>
              <a:rPr lang="tr-TR" sz="950" dirty="0"/>
              <a:t> Image</a:t>
            </a:r>
          </a:p>
          <a:p>
            <a:r>
              <a:rPr lang="tr-TR" sz="950" dirty="0" err="1" smtClean="0"/>
              <a:t>Scaling</a:t>
            </a:r>
            <a:r>
              <a:rPr lang="tr-TR" sz="950" dirty="0" smtClean="0"/>
              <a:t> </a:t>
            </a:r>
            <a:r>
              <a:rPr lang="tr-TR" sz="950" dirty="0" err="1"/>
              <a:t>and</a:t>
            </a:r>
            <a:r>
              <a:rPr lang="tr-TR" sz="950" dirty="0"/>
              <a:t> Self </a:t>
            </a:r>
            <a:r>
              <a:rPr lang="tr-TR" sz="950" dirty="0" err="1"/>
              <a:t>Healing</a:t>
            </a:r>
            <a:endParaRPr lang="tr-TR" sz="950" dirty="0"/>
          </a:p>
          <a:p>
            <a:r>
              <a:rPr lang="tr-TR" sz="950" dirty="0" err="1" smtClean="0"/>
              <a:t>Exposing</a:t>
            </a:r>
            <a:r>
              <a:rPr lang="tr-TR" sz="950" dirty="0" smtClean="0"/>
              <a:t> </a:t>
            </a:r>
            <a:r>
              <a:rPr lang="tr-TR" sz="950" dirty="0" err="1"/>
              <a:t>Your</a:t>
            </a:r>
            <a:r>
              <a:rPr lang="tr-TR" sz="950" dirty="0"/>
              <a:t> Application </a:t>
            </a:r>
            <a:r>
              <a:rPr lang="tr-TR" sz="950" dirty="0" err="1"/>
              <a:t>to</a:t>
            </a:r>
            <a:r>
              <a:rPr lang="tr-TR" sz="950" dirty="0"/>
              <a:t> </a:t>
            </a:r>
            <a:r>
              <a:rPr lang="tr-TR" sz="950" dirty="0" err="1"/>
              <a:t>the</a:t>
            </a:r>
            <a:r>
              <a:rPr lang="tr-TR" sz="950" dirty="0"/>
              <a:t> </a:t>
            </a:r>
            <a:r>
              <a:rPr lang="tr-TR" sz="950" dirty="0" err="1" smtClean="0"/>
              <a:t>Outside</a:t>
            </a:r>
            <a:endParaRPr lang="tr-TR" sz="950" dirty="0" smtClean="0"/>
          </a:p>
          <a:p>
            <a:r>
              <a:rPr lang="tr-TR" sz="950" dirty="0" err="1" smtClean="0"/>
              <a:t>Exploring</a:t>
            </a:r>
            <a:r>
              <a:rPr lang="tr-TR" sz="950" dirty="0" smtClean="0"/>
              <a:t> </a:t>
            </a:r>
            <a:r>
              <a:rPr lang="tr-TR" sz="950" dirty="0" err="1"/>
              <a:t>OpenShift's</a:t>
            </a:r>
            <a:r>
              <a:rPr lang="tr-TR" sz="950" dirty="0"/>
              <a:t> </a:t>
            </a:r>
            <a:r>
              <a:rPr lang="tr-TR" sz="950" dirty="0" err="1"/>
              <a:t>Logging</a:t>
            </a:r>
            <a:r>
              <a:rPr lang="tr-TR" sz="950" dirty="0"/>
              <a:t> </a:t>
            </a:r>
            <a:r>
              <a:rPr lang="tr-TR" sz="950" dirty="0" err="1"/>
              <a:t>Capabilities</a:t>
            </a:r>
            <a:endParaRPr lang="tr-TR" sz="950" dirty="0"/>
          </a:p>
          <a:p>
            <a:r>
              <a:rPr lang="tr-TR" sz="950" dirty="0" smtClean="0"/>
              <a:t>Role-</a:t>
            </a:r>
            <a:r>
              <a:rPr lang="tr-TR" sz="950" dirty="0" err="1" smtClean="0"/>
              <a:t>Based</a:t>
            </a:r>
            <a:r>
              <a:rPr lang="tr-TR" sz="950" dirty="0" smtClean="0"/>
              <a:t> </a:t>
            </a:r>
            <a:r>
              <a:rPr lang="tr-TR" sz="950" dirty="0"/>
              <a:t>Access Control</a:t>
            </a:r>
          </a:p>
          <a:p>
            <a:r>
              <a:rPr lang="tr-TR" sz="950" dirty="0" smtClean="0"/>
              <a:t>Remote </a:t>
            </a:r>
            <a:r>
              <a:rPr lang="tr-TR" sz="950" dirty="0"/>
              <a:t>Access </a:t>
            </a:r>
            <a:r>
              <a:rPr lang="tr-TR" sz="950" dirty="0" err="1"/>
              <a:t>to</a:t>
            </a:r>
            <a:r>
              <a:rPr lang="tr-TR" sz="950" dirty="0"/>
              <a:t> </a:t>
            </a:r>
            <a:r>
              <a:rPr lang="tr-TR" sz="950" dirty="0" err="1"/>
              <a:t>Your</a:t>
            </a:r>
            <a:r>
              <a:rPr lang="tr-TR" sz="950" dirty="0"/>
              <a:t> Application</a:t>
            </a:r>
          </a:p>
          <a:p>
            <a:r>
              <a:rPr lang="tr-TR" sz="950" dirty="0" err="1" smtClean="0"/>
              <a:t>Deploying</a:t>
            </a:r>
            <a:r>
              <a:rPr lang="tr-TR" sz="950" dirty="0" smtClean="0"/>
              <a:t> </a:t>
            </a:r>
            <a:r>
              <a:rPr lang="tr-TR" sz="950" dirty="0"/>
              <a:t>Java </a:t>
            </a:r>
            <a:r>
              <a:rPr lang="tr-TR" sz="950" dirty="0" err="1"/>
              <a:t>Code</a:t>
            </a:r>
            <a:endParaRPr lang="tr-TR" sz="950" dirty="0"/>
          </a:p>
          <a:p>
            <a:r>
              <a:rPr lang="tr-TR" sz="950" dirty="0" err="1" smtClean="0"/>
              <a:t>Adding</a:t>
            </a:r>
            <a:r>
              <a:rPr lang="tr-TR" sz="950" dirty="0" smtClean="0"/>
              <a:t> </a:t>
            </a:r>
            <a:r>
              <a:rPr lang="tr-TR" sz="950" dirty="0"/>
              <a:t>a Database (</a:t>
            </a:r>
            <a:r>
              <a:rPr lang="tr-TR" sz="950" dirty="0" err="1"/>
              <a:t>MongoDB</a:t>
            </a:r>
            <a:r>
              <a:rPr lang="tr-TR" sz="950" dirty="0"/>
              <a:t>)</a:t>
            </a:r>
          </a:p>
          <a:p>
            <a:r>
              <a:rPr lang="tr-TR" sz="950" dirty="0" smtClean="0"/>
              <a:t>Application </a:t>
            </a:r>
            <a:r>
              <a:rPr lang="tr-TR" sz="950" dirty="0" err="1" smtClean="0"/>
              <a:t>Health</a:t>
            </a:r>
            <a:r>
              <a:rPr lang="tr-TR" sz="950" dirty="0" smtClean="0"/>
              <a:t> </a:t>
            </a:r>
            <a:r>
              <a:rPr lang="tr-TR" sz="950" dirty="0" err="1" smtClean="0"/>
              <a:t>and</a:t>
            </a:r>
            <a:r>
              <a:rPr lang="tr-TR" sz="950" dirty="0" smtClean="0"/>
              <a:t> </a:t>
            </a:r>
            <a:r>
              <a:rPr lang="tr-TR" sz="950" dirty="0" err="1" smtClean="0"/>
              <a:t>Monitoring</a:t>
            </a:r>
            <a:endParaRPr lang="tr-TR" sz="950" dirty="0" smtClean="0"/>
          </a:p>
          <a:p>
            <a:r>
              <a:rPr lang="tr-TR" sz="950" dirty="0" err="1" smtClean="0"/>
              <a:t>Automate</a:t>
            </a:r>
            <a:r>
              <a:rPr lang="tr-TR" sz="950" dirty="0" smtClean="0"/>
              <a:t> </a:t>
            </a:r>
            <a:r>
              <a:rPr lang="tr-TR" sz="950" dirty="0" err="1"/>
              <a:t>Build</a:t>
            </a:r>
            <a:r>
              <a:rPr lang="tr-TR" sz="950" dirty="0"/>
              <a:t> </a:t>
            </a:r>
            <a:r>
              <a:rPr lang="tr-TR" sz="950" dirty="0" err="1"/>
              <a:t>and</a:t>
            </a:r>
            <a:r>
              <a:rPr lang="tr-TR" sz="950" dirty="0"/>
              <a:t> Deployment </a:t>
            </a:r>
            <a:r>
              <a:rPr lang="tr-TR" sz="950" dirty="0" err="1"/>
              <a:t>with</a:t>
            </a:r>
            <a:r>
              <a:rPr lang="tr-TR" sz="950" dirty="0"/>
              <a:t> </a:t>
            </a:r>
            <a:r>
              <a:rPr lang="tr-TR" sz="950" dirty="0" err="1"/>
              <a:t>Pipelines</a:t>
            </a:r>
            <a:endParaRPr lang="tr-TR" sz="950" dirty="0"/>
          </a:p>
          <a:p>
            <a:r>
              <a:rPr lang="tr-TR" sz="950" dirty="0" err="1" smtClean="0"/>
              <a:t>Automation</a:t>
            </a:r>
            <a:r>
              <a:rPr lang="tr-TR" sz="950" dirty="0" smtClean="0"/>
              <a:t> </a:t>
            </a:r>
            <a:r>
              <a:rPr lang="tr-TR" sz="950" dirty="0" err="1"/>
              <a:t>for</a:t>
            </a:r>
            <a:r>
              <a:rPr lang="tr-TR" sz="950" dirty="0"/>
              <a:t> </a:t>
            </a:r>
            <a:r>
              <a:rPr lang="tr-TR" sz="950" dirty="0" err="1"/>
              <a:t>Your</a:t>
            </a:r>
            <a:r>
              <a:rPr lang="tr-TR" sz="950" dirty="0"/>
              <a:t> Application on </a:t>
            </a:r>
            <a:r>
              <a:rPr lang="tr-TR" sz="950" dirty="0" err="1"/>
              <a:t>Code</a:t>
            </a:r>
            <a:r>
              <a:rPr lang="tr-TR" sz="950" dirty="0"/>
              <a:t> </a:t>
            </a:r>
            <a:r>
              <a:rPr lang="tr-TR" sz="950" dirty="0" err="1"/>
              <a:t>Changes</a:t>
            </a:r>
            <a:endParaRPr lang="tr-TR" sz="950" dirty="0"/>
          </a:p>
          <a:p>
            <a:r>
              <a:rPr lang="tr-TR" sz="950" dirty="0" smtClean="0"/>
              <a:t>Using </a:t>
            </a:r>
            <a:r>
              <a:rPr lang="tr-TR" sz="950" dirty="0"/>
              <a:t>Application Templates</a:t>
            </a:r>
          </a:p>
          <a:p>
            <a:r>
              <a:rPr lang="tr-TR" sz="950" dirty="0" err="1" smtClean="0"/>
              <a:t>Binary</a:t>
            </a:r>
            <a:r>
              <a:rPr lang="tr-TR" sz="950" dirty="0" smtClean="0"/>
              <a:t> </a:t>
            </a:r>
            <a:r>
              <a:rPr lang="tr-TR" sz="950" dirty="0" err="1"/>
              <a:t>Builds</a:t>
            </a:r>
            <a:r>
              <a:rPr lang="tr-TR" sz="950" dirty="0"/>
              <a:t> </a:t>
            </a:r>
            <a:r>
              <a:rPr lang="tr-TR" sz="950" dirty="0" err="1"/>
              <a:t>for</a:t>
            </a:r>
            <a:r>
              <a:rPr lang="tr-TR" sz="950" dirty="0"/>
              <a:t> </a:t>
            </a:r>
            <a:r>
              <a:rPr lang="tr-TR" sz="950" dirty="0" err="1"/>
              <a:t>Day</a:t>
            </a:r>
            <a:r>
              <a:rPr lang="tr-TR" sz="950" dirty="0"/>
              <a:t> </a:t>
            </a:r>
            <a:r>
              <a:rPr lang="tr-TR" sz="950" dirty="0" err="1"/>
              <a:t>to</a:t>
            </a:r>
            <a:r>
              <a:rPr lang="tr-TR" sz="950" dirty="0"/>
              <a:t> </a:t>
            </a:r>
            <a:r>
              <a:rPr lang="tr-TR" sz="950" dirty="0" err="1"/>
              <a:t>Day</a:t>
            </a:r>
            <a:r>
              <a:rPr lang="tr-TR" sz="950" dirty="0"/>
              <a:t> Development</a:t>
            </a:r>
          </a:p>
          <a:p>
            <a:r>
              <a:rPr lang="tr-TR" sz="950" dirty="0" smtClean="0"/>
              <a:t>Using </a:t>
            </a:r>
            <a:r>
              <a:rPr lang="tr-TR" sz="950" dirty="0"/>
              <a:t>Port-</a:t>
            </a:r>
            <a:r>
              <a:rPr lang="tr-TR" sz="950" dirty="0" err="1"/>
              <a:t>Forwarding</a:t>
            </a:r>
            <a:r>
              <a:rPr lang="tr-TR" sz="950" dirty="0"/>
              <a:t> </a:t>
            </a:r>
            <a:r>
              <a:rPr lang="tr-TR" sz="950" dirty="0" err="1"/>
              <a:t>and</a:t>
            </a:r>
            <a:r>
              <a:rPr lang="tr-TR" sz="950" dirty="0"/>
              <a:t> Remote </a:t>
            </a:r>
            <a:r>
              <a:rPr lang="tr-TR" sz="950" dirty="0" smtClean="0"/>
              <a:t>Debugging</a:t>
            </a:r>
            <a:endParaRPr lang="tr-TR" sz="95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smtClean="0"/>
              <a:t>Developer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815" b="1581"/>
          <a:stretch/>
        </p:blipFill>
        <p:spPr>
          <a:xfrm>
            <a:off x="4012912" y="1799555"/>
            <a:ext cx="7616594" cy="2895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27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tr-TR" sz="3000" dirty="0" err="1" smtClean="0"/>
              <a:t>Optional</a:t>
            </a:r>
            <a:r>
              <a:rPr lang="tr-TR" sz="3000" dirty="0" smtClean="0"/>
              <a:t> - </a:t>
            </a:r>
            <a:r>
              <a:rPr lang="tr-TR" sz="3000" dirty="0" err="1" smtClean="0"/>
              <a:t>Day</a:t>
            </a:r>
            <a:r>
              <a:rPr lang="tr-TR" sz="3000" dirty="0" smtClean="0"/>
              <a:t> </a:t>
            </a:r>
            <a:r>
              <a:rPr lang="tr-TR" sz="3000" dirty="0"/>
              <a:t>2</a:t>
            </a:r>
            <a:r>
              <a:rPr lang="tr-TR" sz="3000" dirty="0" smtClean="0"/>
              <a:t>: </a:t>
            </a:r>
            <a:r>
              <a:rPr lang="tr-TR" sz="3000" dirty="0" err="1" smtClean="0"/>
              <a:t>Red</a:t>
            </a:r>
            <a:r>
              <a:rPr lang="tr-TR" sz="3000" dirty="0" smtClean="0"/>
              <a:t> Hat </a:t>
            </a:r>
            <a:r>
              <a:rPr lang="tr-TR" dirty="0" smtClean="0"/>
              <a:t>Service Mesh</a:t>
            </a:r>
            <a:endParaRPr lang="tr-TR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6774" y="1133955"/>
            <a:ext cx="11522075" cy="4875211"/>
          </a:xfrm>
        </p:spPr>
        <p:txBody>
          <a:bodyPr/>
          <a:lstStyle/>
          <a:p>
            <a:r>
              <a:rPr lang="tr-TR" sz="950" dirty="0" smtClean="0"/>
              <a:t>Environment </a:t>
            </a:r>
            <a:r>
              <a:rPr lang="tr-TR" sz="950" dirty="0" err="1"/>
              <a:t>Overview</a:t>
            </a:r>
            <a:endParaRPr lang="tr-TR" sz="950" dirty="0"/>
          </a:p>
          <a:p>
            <a:r>
              <a:rPr lang="tr-TR" sz="950" dirty="0" err="1" smtClean="0"/>
              <a:t>Installing</a:t>
            </a:r>
            <a:r>
              <a:rPr lang="tr-TR" sz="950" dirty="0" smtClean="0"/>
              <a:t> </a:t>
            </a:r>
            <a:r>
              <a:rPr lang="tr-TR" sz="950" dirty="0" err="1" smtClean="0"/>
              <a:t>Red</a:t>
            </a:r>
            <a:r>
              <a:rPr lang="tr-TR" sz="950" dirty="0" smtClean="0"/>
              <a:t> Hat Service Mesh</a:t>
            </a:r>
          </a:p>
          <a:p>
            <a:r>
              <a:rPr lang="tr-TR" sz="950" dirty="0" err="1" smtClean="0"/>
              <a:t>Deploy</a:t>
            </a:r>
            <a:r>
              <a:rPr lang="tr-TR" sz="950" dirty="0" smtClean="0"/>
              <a:t> </a:t>
            </a:r>
            <a:r>
              <a:rPr lang="tr-TR" sz="950" dirty="0" err="1" smtClean="0"/>
              <a:t>example</a:t>
            </a:r>
            <a:r>
              <a:rPr lang="tr-TR" sz="950" dirty="0" smtClean="0"/>
              <a:t> Web Site</a:t>
            </a:r>
          </a:p>
          <a:p>
            <a:r>
              <a:rPr lang="tr-TR" sz="950" dirty="0" smtClean="0"/>
              <a:t>And </a:t>
            </a:r>
            <a:r>
              <a:rPr lang="tr-TR" sz="950" dirty="0" err="1" smtClean="0"/>
              <a:t>enjoy</a:t>
            </a:r>
            <a:r>
              <a:rPr lang="tr-TR" sz="950" dirty="0" smtClean="0"/>
              <a:t> </a:t>
            </a:r>
            <a:r>
              <a:rPr lang="tr-TR" sz="950" dirty="0" err="1" smtClean="0"/>
              <a:t>the</a:t>
            </a:r>
            <a:r>
              <a:rPr lang="tr-TR" sz="950" dirty="0" smtClean="0"/>
              <a:t> mesh!</a:t>
            </a:r>
            <a:endParaRPr lang="tr-TR" sz="95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smtClean="0"/>
              <a:t>Developer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6010BA-1822-4257-BAAF-AEA2AE1D20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712" y="2613403"/>
            <a:ext cx="3896139" cy="19202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7539" y="1133955"/>
            <a:ext cx="7080279" cy="457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64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447301"/>
          </a:xfrm>
        </p:spPr>
        <p:txBody>
          <a:bodyPr/>
          <a:lstStyle/>
          <a:p>
            <a:r>
              <a:rPr lang="tr-TR" dirty="0" err="1"/>
              <a:t>Verify</a:t>
            </a:r>
            <a:r>
              <a:rPr lang="tr-TR" dirty="0"/>
              <a:t> </a:t>
            </a:r>
            <a:r>
              <a:rPr lang="tr-TR" dirty="0" err="1"/>
              <a:t>your</a:t>
            </a:r>
            <a:r>
              <a:rPr lang="tr-TR" dirty="0"/>
              <a:t> </a:t>
            </a:r>
            <a:r>
              <a:rPr lang="tr-TR" dirty="0" err="1"/>
              <a:t>permissions</a:t>
            </a:r>
            <a:r>
              <a:rPr lang="tr-TR" dirty="0"/>
              <a:t/>
            </a:r>
            <a:br>
              <a:rPr lang="tr-TR" dirty="0"/>
            </a:br>
            <a:r>
              <a:rPr lang="tr-TR" sz="2800" dirty="0"/>
              <a:t/>
            </a:r>
            <a:br>
              <a:rPr lang="tr-TR" sz="2800" dirty="0"/>
            </a:br>
            <a:endParaRPr lang="tr-TR" sz="30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8330" y="1257719"/>
            <a:ext cx="8963025" cy="2781300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38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835100"/>
          </a:xfrm>
        </p:spPr>
        <p:txBody>
          <a:bodyPr/>
          <a:lstStyle/>
          <a:p>
            <a:r>
              <a:rPr lang="en-US" dirty="0" smtClean="0"/>
              <a:t>Install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Register</a:t>
            </a:r>
            <a:r>
              <a:rPr lang="en-US" dirty="0" smtClean="0"/>
              <a:t> </a:t>
            </a:r>
            <a:r>
              <a:rPr lang="tr-TR" dirty="0" smtClean="0"/>
              <a:t>T</a:t>
            </a:r>
            <a:r>
              <a:rPr lang="en-US" dirty="0" smtClean="0"/>
              <a:t>he </a:t>
            </a:r>
            <a:r>
              <a:rPr lang="tr-TR" dirty="0" smtClean="0"/>
              <a:t>«</a:t>
            </a:r>
            <a:r>
              <a:rPr lang="en-US" dirty="0" err="1" smtClean="0"/>
              <a:t>az</a:t>
            </a:r>
            <a:r>
              <a:rPr lang="en-US" dirty="0" smtClean="0"/>
              <a:t> </a:t>
            </a:r>
            <a:r>
              <a:rPr lang="en-US" dirty="0" err="1" smtClean="0"/>
              <a:t>aro</a:t>
            </a:r>
            <a:r>
              <a:rPr lang="tr-TR" dirty="0" smtClean="0"/>
              <a:t>»</a:t>
            </a:r>
            <a:r>
              <a:rPr lang="en-US" dirty="0" smtClean="0"/>
              <a:t> </a:t>
            </a:r>
            <a:r>
              <a:rPr lang="en-US" dirty="0"/>
              <a:t>extension</a:t>
            </a:r>
            <a:br>
              <a:rPr lang="en-US" dirty="0"/>
            </a:br>
            <a:r>
              <a:rPr lang="tr-TR" dirty="0"/>
              <a:t/>
            </a:r>
            <a:br>
              <a:rPr lang="tr-TR" dirty="0"/>
            </a:br>
            <a:r>
              <a:rPr lang="tr-TR" sz="2800" dirty="0"/>
              <a:t/>
            </a:r>
            <a:br>
              <a:rPr lang="tr-TR" sz="2800" dirty="0"/>
            </a:br>
            <a:endParaRPr lang="tr-TR" sz="3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/>
              <a:t>az </a:t>
            </a:r>
            <a:r>
              <a:rPr lang="tr-TR" dirty="0" err="1"/>
              <a:t>extension</a:t>
            </a:r>
            <a:r>
              <a:rPr lang="tr-TR" dirty="0"/>
              <a:t> </a:t>
            </a:r>
            <a:r>
              <a:rPr lang="tr-TR" dirty="0" err="1"/>
              <a:t>add</a:t>
            </a:r>
            <a:r>
              <a:rPr lang="tr-TR" dirty="0"/>
              <a:t> -n </a:t>
            </a:r>
            <a:r>
              <a:rPr lang="tr-TR" dirty="0" err="1"/>
              <a:t>aro</a:t>
            </a:r>
            <a:r>
              <a:rPr lang="tr-TR" dirty="0"/>
              <a:t> --</a:t>
            </a:r>
            <a:r>
              <a:rPr lang="tr-TR" dirty="0" err="1"/>
              <a:t>index</a:t>
            </a:r>
            <a:r>
              <a:rPr lang="tr-TR" dirty="0"/>
              <a:t> </a:t>
            </a:r>
            <a:r>
              <a:rPr lang="tr-TR" dirty="0">
                <a:hlinkClick r:id="rId2"/>
              </a:rPr>
              <a:t>https://</a:t>
            </a:r>
            <a:r>
              <a:rPr lang="tr-TR" dirty="0" smtClean="0">
                <a:hlinkClick r:id="rId2"/>
              </a:rPr>
              <a:t>az.aroapp.io/stable</a:t>
            </a:r>
            <a:endParaRPr lang="tr-TR" dirty="0" smtClean="0"/>
          </a:p>
          <a:p>
            <a:endParaRPr lang="tr-TR" dirty="0"/>
          </a:p>
          <a:p>
            <a:r>
              <a:rPr lang="pt-BR" dirty="0"/>
              <a:t>az extension update -n aro --index https://az.aroapp.io/stable</a:t>
            </a:r>
          </a:p>
          <a:p>
            <a:endParaRPr lang="tr-TR" dirty="0" smtClean="0"/>
          </a:p>
          <a:p>
            <a:r>
              <a:rPr lang="tr-TR" dirty="0"/>
              <a:t>az </a:t>
            </a:r>
            <a:r>
              <a:rPr lang="tr-TR" dirty="0" err="1"/>
              <a:t>provider</a:t>
            </a:r>
            <a:r>
              <a:rPr lang="tr-TR" dirty="0"/>
              <a:t> </a:t>
            </a:r>
            <a:r>
              <a:rPr lang="tr-TR" dirty="0" err="1"/>
              <a:t>register</a:t>
            </a:r>
            <a:r>
              <a:rPr lang="tr-TR" dirty="0"/>
              <a:t> -n </a:t>
            </a:r>
            <a:r>
              <a:rPr lang="tr-TR" dirty="0" err="1"/>
              <a:t>Microsoft.RedHatOpenShift</a:t>
            </a:r>
            <a:r>
              <a:rPr lang="tr-TR" dirty="0"/>
              <a:t> </a:t>
            </a:r>
            <a:r>
              <a:rPr lang="tr-TR" dirty="0" smtClean="0"/>
              <a:t>–</a:t>
            </a:r>
            <a:r>
              <a:rPr lang="tr-TR" dirty="0" err="1" smtClean="0"/>
              <a:t>wait</a:t>
            </a:r>
            <a:endParaRPr lang="tr-TR" dirty="0" smtClean="0"/>
          </a:p>
          <a:p>
            <a:endParaRPr lang="tr-TR" dirty="0"/>
          </a:p>
          <a:p>
            <a:r>
              <a:rPr lang="tr-TR" dirty="0"/>
              <a:t>az -v</a:t>
            </a:r>
          </a:p>
        </p:txBody>
      </p:sp>
    </p:spTree>
    <p:extLst>
      <p:ext uri="{BB962C8B-B14F-4D97-AF65-F5344CB8AC3E}">
        <p14:creationId xmlns:p14="http://schemas.microsoft.com/office/powerpoint/2010/main" val="214635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835100"/>
          </a:xfrm>
        </p:spPr>
        <p:txBody>
          <a:bodyPr/>
          <a:lstStyle/>
          <a:p>
            <a:r>
              <a:rPr lang="en-US" dirty="0"/>
              <a:t>Get a Red Hat pull </a:t>
            </a:r>
            <a:r>
              <a:rPr lang="en-US" dirty="0" err="1" smtClean="0"/>
              <a:t>secre</a:t>
            </a:r>
            <a:r>
              <a:rPr lang="tr-TR" dirty="0" smtClean="0"/>
              <a:t>t</a:t>
            </a:r>
            <a:r>
              <a:rPr lang="en-US" dirty="0"/>
              <a:t/>
            </a:r>
            <a:br>
              <a:rPr lang="en-US" dirty="0"/>
            </a:br>
            <a:r>
              <a:rPr lang="tr-TR" dirty="0" smtClean="0"/>
              <a:t/>
            </a:r>
            <a:br>
              <a:rPr lang="tr-TR" dirty="0" smtClean="0"/>
            </a:br>
            <a:r>
              <a:rPr lang="tr-TR" sz="2800" dirty="0" smtClean="0"/>
              <a:t/>
            </a:r>
            <a:br>
              <a:rPr lang="tr-TR" sz="2800" dirty="0" smtClean="0"/>
            </a:br>
            <a:endParaRPr lang="tr-TR" sz="3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>
                <a:hlinkClick r:id="rId2"/>
              </a:rPr>
              <a:t>https://cloud.redhat.com/openshift/install/azure/aro-provisioned</a:t>
            </a:r>
            <a:endParaRPr lang="tr-TR" dirty="0"/>
          </a:p>
          <a:p>
            <a:endParaRPr lang="tr-TR" dirty="0" smtClean="0"/>
          </a:p>
          <a:p>
            <a:r>
              <a:rPr lang="tr-TR" dirty="0" err="1" smtClean="0"/>
              <a:t>Create</a:t>
            </a:r>
            <a:r>
              <a:rPr lang="tr-TR" dirty="0" smtClean="0"/>
              <a:t> an </a:t>
            </a:r>
            <a:r>
              <a:rPr lang="tr-TR" dirty="0" err="1" smtClean="0"/>
              <a:t>account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login</a:t>
            </a:r>
            <a:endParaRPr lang="tr-TR" dirty="0" smtClean="0"/>
          </a:p>
          <a:p>
            <a:endParaRPr lang="tr-TR" dirty="0"/>
          </a:p>
          <a:p>
            <a:r>
              <a:rPr lang="tr-TR" dirty="0" err="1" smtClean="0"/>
              <a:t>Keep</a:t>
            </a:r>
            <a:r>
              <a:rPr lang="tr-TR" dirty="0" smtClean="0"/>
              <a:t> </a:t>
            </a:r>
            <a:r>
              <a:rPr lang="tr-TR" dirty="0" err="1" smtClean="0"/>
              <a:t>the</a:t>
            </a:r>
            <a:r>
              <a:rPr lang="tr-TR" dirty="0" smtClean="0"/>
              <a:t> </a:t>
            </a:r>
            <a:r>
              <a:rPr lang="tr-TR" dirty="0" err="1" smtClean="0"/>
              <a:t>saved</a:t>
            </a:r>
            <a:r>
              <a:rPr lang="tr-TR" dirty="0" smtClean="0"/>
              <a:t> pull-secret.txt file</a:t>
            </a:r>
          </a:p>
          <a:p>
            <a:endParaRPr lang="tr-TR" dirty="0"/>
          </a:p>
          <a:p>
            <a:endParaRPr lang="tr-TR" dirty="0" smtClean="0"/>
          </a:p>
          <a:p>
            <a:endParaRPr lang="tr-T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8705" y="2126083"/>
            <a:ext cx="6051666" cy="356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37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031803"/>
          </a:xfrm>
        </p:spPr>
        <p:txBody>
          <a:bodyPr/>
          <a:lstStyle/>
          <a:p>
            <a:r>
              <a:rPr lang="en-US" dirty="0"/>
              <a:t>Create a virtual network containing two empty subnet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 dirty="0" smtClean="0">
              <a:hlinkClick r:id="rId2"/>
            </a:endParaRPr>
          </a:p>
          <a:p>
            <a:r>
              <a:rPr lang="en-US" dirty="0"/>
              <a:t>LOCATION=</a:t>
            </a:r>
            <a:r>
              <a:rPr lang="en-US" dirty="0" err="1"/>
              <a:t>eastus</a:t>
            </a:r>
            <a:r>
              <a:rPr lang="en-US" dirty="0"/>
              <a:t>                 </a:t>
            </a:r>
            <a:r>
              <a:rPr lang="en-US" sz="1200" dirty="0"/>
              <a:t># the location of your cluster</a:t>
            </a:r>
          </a:p>
          <a:p>
            <a:pPr marL="0" indent="0">
              <a:buNone/>
            </a:pPr>
            <a:r>
              <a:rPr lang="tr-TR" dirty="0"/>
              <a:t> </a:t>
            </a:r>
            <a:r>
              <a:rPr lang="tr-TR" dirty="0" smtClean="0"/>
              <a:t>  </a:t>
            </a:r>
            <a:r>
              <a:rPr lang="en-US" dirty="0" smtClean="0"/>
              <a:t>RESOURCEGROUP=</a:t>
            </a:r>
            <a:r>
              <a:rPr lang="en-US" dirty="0" err="1" smtClean="0"/>
              <a:t>aro-rg</a:t>
            </a:r>
            <a:r>
              <a:rPr lang="en-US" dirty="0" smtClean="0"/>
              <a:t>            </a:t>
            </a:r>
            <a:r>
              <a:rPr lang="en-US" sz="1200" dirty="0"/>
              <a:t># the name of the resource group where you want to create your cluster</a:t>
            </a:r>
          </a:p>
          <a:p>
            <a:pPr marL="0" indent="0">
              <a:buNone/>
            </a:pPr>
            <a:r>
              <a:rPr lang="tr-TR" dirty="0" smtClean="0"/>
              <a:t>    </a:t>
            </a:r>
            <a:r>
              <a:rPr lang="en-US" dirty="0" smtClean="0"/>
              <a:t>CLUSTER=cluster                 </a:t>
            </a:r>
            <a:r>
              <a:rPr lang="en-US" sz="1200" dirty="0"/>
              <a:t># the name of your </a:t>
            </a:r>
            <a:r>
              <a:rPr lang="en-US" sz="1200" dirty="0" smtClean="0"/>
              <a:t>cluster</a:t>
            </a:r>
            <a:endParaRPr lang="tr-TR" sz="1200" dirty="0" smtClean="0"/>
          </a:p>
          <a:p>
            <a:endParaRPr lang="tr-TR" dirty="0" smtClean="0"/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tr-TR" b="1" dirty="0" err="1" smtClean="0"/>
              <a:t>Create</a:t>
            </a:r>
            <a:r>
              <a:rPr lang="tr-TR" b="1" dirty="0" smtClean="0"/>
              <a:t> </a:t>
            </a:r>
            <a:r>
              <a:rPr lang="tr-TR" b="1" dirty="0"/>
              <a:t>a </a:t>
            </a:r>
            <a:r>
              <a:rPr lang="tr-TR" b="1" dirty="0" err="1"/>
              <a:t>resource</a:t>
            </a:r>
            <a:r>
              <a:rPr lang="tr-TR" b="1" dirty="0"/>
              <a:t> </a:t>
            </a:r>
            <a:r>
              <a:rPr lang="tr-TR" b="1" dirty="0" err="1" smtClean="0"/>
              <a:t>group</a:t>
            </a:r>
            <a:endParaRPr lang="tr-TR" dirty="0" smtClean="0"/>
          </a:p>
          <a:p>
            <a:r>
              <a:rPr lang="en-US" sz="1200" i="1" dirty="0" err="1" smtClean="0"/>
              <a:t>az</a:t>
            </a:r>
            <a:r>
              <a:rPr lang="en-US" sz="1200" i="1" dirty="0" smtClean="0"/>
              <a:t> </a:t>
            </a:r>
            <a:r>
              <a:rPr lang="en-US" sz="1200" i="1" dirty="0"/>
              <a:t>group create --name $RESOURCEGROUP --location $</a:t>
            </a:r>
            <a:r>
              <a:rPr lang="en-US" sz="1200" i="1" dirty="0" smtClean="0"/>
              <a:t>LOCATION</a:t>
            </a:r>
            <a:endParaRPr lang="tr-TR" sz="1200" i="1" dirty="0" smtClean="0"/>
          </a:p>
          <a:p>
            <a:endParaRPr lang="tr-TR" dirty="0" smtClean="0"/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tr-TR" b="1" dirty="0" err="1" smtClean="0"/>
              <a:t>Create</a:t>
            </a:r>
            <a:r>
              <a:rPr lang="tr-TR" b="1" dirty="0" smtClean="0"/>
              <a:t> </a:t>
            </a:r>
            <a:r>
              <a:rPr lang="tr-TR" b="1" dirty="0"/>
              <a:t>a </a:t>
            </a:r>
            <a:r>
              <a:rPr lang="tr-TR" b="1" dirty="0" err="1"/>
              <a:t>virtual</a:t>
            </a:r>
            <a:r>
              <a:rPr lang="tr-TR" b="1" dirty="0"/>
              <a:t> network.</a:t>
            </a:r>
            <a:endParaRPr lang="tr-TR" dirty="0"/>
          </a:p>
          <a:p>
            <a:r>
              <a:rPr lang="en-US" sz="1200" i="1" dirty="0" err="1"/>
              <a:t>az</a:t>
            </a:r>
            <a:r>
              <a:rPr lang="en-US" sz="1200" i="1" dirty="0"/>
              <a:t> network </a:t>
            </a:r>
            <a:r>
              <a:rPr lang="en-US" sz="1200" i="1" dirty="0" err="1"/>
              <a:t>vnet</a:t>
            </a:r>
            <a:r>
              <a:rPr lang="en-US" sz="1200" i="1" dirty="0"/>
              <a:t> create </a:t>
            </a:r>
            <a:r>
              <a:rPr lang="en-US" sz="1200" i="1" dirty="0" smtClean="0"/>
              <a:t>--</a:t>
            </a:r>
            <a:r>
              <a:rPr lang="en-US" sz="1200" i="1" dirty="0"/>
              <a:t>resource-group $RESOURCEGROUP </a:t>
            </a:r>
            <a:r>
              <a:rPr lang="en-US" sz="1200" i="1" dirty="0" smtClean="0"/>
              <a:t>--</a:t>
            </a:r>
            <a:r>
              <a:rPr lang="en-US" sz="1200" i="1" dirty="0"/>
              <a:t>name </a:t>
            </a:r>
            <a:r>
              <a:rPr lang="en-US" sz="1200" i="1" dirty="0" err="1"/>
              <a:t>aro-vnet</a:t>
            </a:r>
            <a:r>
              <a:rPr lang="en-US" sz="1200" i="1" dirty="0"/>
              <a:t> </a:t>
            </a:r>
            <a:r>
              <a:rPr lang="en-US" sz="1200" i="1" dirty="0" smtClean="0"/>
              <a:t>--</a:t>
            </a:r>
            <a:r>
              <a:rPr lang="en-US" sz="1200" i="1" dirty="0"/>
              <a:t>address-prefixes </a:t>
            </a:r>
            <a:r>
              <a:rPr lang="en-US" sz="1200" i="1" dirty="0" smtClean="0"/>
              <a:t>10.0.0.0/22</a:t>
            </a:r>
            <a:endParaRPr lang="tr-TR" sz="1200" i="1" dirty="0" smtClean="0"/>
          </a:p>
          <a:p>
            <a:endParaRPr lang="tr-TR" dirty="0"/>
          </a:p>
          <a:p>
            <a:endParaRPr lang="tr-TR" dirty="0"/>
          </a:p>
          <a:p>
            <a:endParaRPr lang="tr-TR" dirty="0" smtClean="0"/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72466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1031803"/>
          </a:xfrm>
        </p:spPr>
        <p:txBody>
          <a:bodyPr/>
          <a:lstStyle/>
          <a:p>
            <a:r>
              <a:rPr lang="en-US" dirty="0"/>
              <a:t>Create a virtual network containing two empty subnet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 dirty="0" smtClean="0">
              <a:hlinkClick r:id="rId2"/>
            </a:endParaRPr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en-US" b="1" dirty="0" smtClean="0"/>
              <a:t>Add </a:t>
            </a:r>
            <a:r>
              <a:rPr lang="en-US" b="1" dirty="0"/>
              <a:t>an empty subnet for the master </a:t>
            </a:r>
            <a:r>
              <a:rPr lang="en-US" b="1" dirty="0" smtClean="0"/>
              <a:t>nodes</a:t>
            </a:r>
            <a:endParaRPr lang="tr-TR" b="1" dirty="0" smtClean="0"/>
          </a:p>
          <a:p>
            <a:r>
              <a:rPr lang="en-US" sz="1200" i="1" dirty="0" err="1" smtClean="0"/>
              <a:t>az</a:t>
            </a:r>
            <a:r>
              <a:rPr lang="en-US" sz="1200" i="1" dirty="0" smtClean="0"/>
              <a:t> </a:t>
            </a:r>
            <a:r>
              <a:rPr lang="en-US" sz="1200" i="1" dirty="0"/>
              <a:t>network </a:t>
            </a:r>
            <a:r>
              <a:rPr lang="en-US" sz="1200" i="1" dirty="0" err="1"/>
              <a:t>vnet</a:t>
            </a:r>
            <a:r>
              <a:rPr lang="en-US" sz="1200" i="1" dirty="0"/>
              <a:t> subnet create </a:t>
            </a:r>
            <a:r>
              <a:rPr lang="en-US" sz="1200" i="1" dirty="0" smtClean="0"/>
              <a:t>--</a:t>
            </a:r>
            <a:r>
              <a:rPr lang="en-US" sz="1200" i="1" dirty="0"/>
              <a:t>resource-group $RESOURCEGROUP </a:t>
            </a:r>
            <a:r>
              <a:rPr lang="en-US" sz="1200" i="1" dirty="0" smtClean="0"/>
              <a:t>--</a:t>
            </a:r>
            <a:r>
              <a:rPr lang="en-US" sz="1200" i="1" dirty="0" err="1"/>
              <a:t>vnet</a:t>
            </a:r>
            <a:r>
              <a:rPr lang="en-US" sz="1200" i="1" dirty="0"/>
              <a:t>-name </a:t>
            </a:r>
            <a:r>
              <a:rPr lang="en-US" sz="1200" i="1" dirty="0" err="1"/>
              <a:t>aro-vnet</a:t>
            </a:r>
            <a:r>
              <a:rPr lang="en-US" sz="1200" i="1" dirty="0"/>
              <a:t> </a:t>
            </a:r>
            <a:r>
              <a:rPr lang="en-US" sz="1200" i="1" dirty="0" smtClean="0"/>
              <a:t>--</a:t>
            </a:r>
            <a:r>
              <a:rPr lang="en-US" sz="1200" i="1" dirty="0"/>
              <a:t>name master-subnet </a:t>
            </a:r>
            <a:r>
              <a:rPr lang="en-US" sz="1200" i="1" dirty="0" smtClean="0"/>
              <a:t>--</a:t>
            </a:r>
            <a:r>
              <a:rPr lang="en-US" sz="1200" i="1" dirty="0"/>
              <a:t>address-prefixes 10.0.0.0/23 </a:t>
            </a:r>
            <a:r>
              <a:rPr lang="en-US" sz="1200" i="1" dirty="0" smtClean="0"/>
              <a:t>--service-endpoints</a:t>
            </a:r>
            <a:r>
              <a:rPr lang="tr-TR" sz="1200" i="1" dirty="0" smtClean="0"/>
              <a:t> </a:t>
            </a:r>
            <a:r>
              <a:rPr lang="en-US" sz="1200" i="1" dirty="0" err="1" smtClean="0"/>
              <a:t>Microsoft.ContainerRegistry</a:t>
            </a:r>
            <a:endParaRPr lang="tr-TR" sz="1200" i="1" dirty="0"/>
          </a:p>
          <a:p>
            <a:endParaRPr lang="tr-TR" dirty="0" smtClean="0"/>
          </a:p>
          <a:p>
            <a:pPr marL="0" indent="0">
              <a:buNone/>
            </a:pPr>
            <a:r>
              <a:rPr lang="tr-TR" b="1" dirty="0" smtClean="0"/>
              <a:t>   </a:t>
            </a:r>
            <a:r>
              <a:rPr lang="en-US" b="1" dirty="0" smtClean="0"/>
              <a:t>Add </a:t>
            </a:r>
            <a:r>
              <a:rPr lang="en-US" b="1" dirty="0"/>
              <a:t>an empty subnet for the worker </a:t>
            </a:r>
            <a:r>
              <a:rPr lang="en-US" b="1" dirty="0" smtClean="0"/>
              <a:t>nodes</a:t>
            </a:r>
            <a:endParaRPr lang="tr-TR" b="1" dirty="0" smtClean="0"/>
          </a:p>
          <a:p>
            <a:r>
              <a:rPr lang="tr-TR" sz="1200" i="1" dirty="0" smtClean="0"/>
              <a:t>az </a:t>
            </a:r>
            <a:r>
              <a:rPr lang="tr-TR" sz="1200" i="1" dirty="0"/>
              <a:t>network </a:t>
            </a:r>
            <a:r>
              <a:rPr lang="tr-TR" sz="1200" i="1" dirty="0" err="1"/>
              <a:t>vnet</a:t>
            </a:r>
            <a:r>
              <a:rPr lang="tr-TR" sz="1200" i="1" dirty="0"/>
              <a:t> </a:t>
            </a:r>
            <a:r>
              <a:rPr lang="tr-TR" sz="1200" i="1" dirty="0" err="1"/>
              <a:t>subnet</a:t>
            </a:r>
            <a:r>
              <a:rPr lang="tr-TR" sz="1200" i="1" dirty="0"/>
              <a:t> </a:t>
            </a:r>
            <a:r>
              <a:rPr lang="tr-TR" sz="1200" i="1" dirty="0" err="1"/>
              <a:t>create</a:t>
            </a:r>
            <a:r>
              <a:rPr lang="tr-TR" sz="1200" i="1" dirty="0"/>
              <a:t> </a:t>
            </a:r>
            <a:r>
              <a:rPr lang="tr-TR" sz="1200" i="1" dirty="0" smtClean="0"/>
              <a:t>--</a:t>
            </a:r>
            <a:r>
              <a:rPr lang="tr-TR" sz="1200" i="1" dirty="0" err="1"/>
              <a:t>resource-group</a:t>
            </a:r>
            <a:r>
              <a:rPr lang="tr-TR" sz="1200" i="1" dirty="0"/>
              <a:t> $RESOURCEGROUP </a:t>
            </a:r>
            <a:r>
              <a:rPr lang="tr-TR" sz="1200" i="1" dirty="0" smtClean="0"/>
              <a:t>--</a:t>
            </a:r>
            <a:r>
              <a:rPr lang="tr-TR" sz="1200" i="1" dirty="0" err="1"/>
              <a:t>vnet</a:t>
            </a:r>
            <a:r>
              <a:rPr lang="tr-TR" sz="1200" i="1" dirty="0"/>
              <a:t>-name </a:t>
            </a:r>
            <a:r>
              <a:rPr lang="tr-TR" sz="1200" i="1" dirty="0" err="1"/>
              <a:t>aro-vnet</a:t>
            </a:r>
            <a:r>
              <a:rPr lang="tr-TR" sz="1200" i="1" dirty="0"/>
              <a:t> </a:t>
            </a:r>
            <a:r>
              <a:rPr lang="tr-TR" sz="1200" i="1" dirty="0" smtClean="0"/>
              <a:t>--</a:t>
            </a:r>
            <a:r>
              <a:rPr lang="tr-TR" sz="1200" i="1" dirty="0"/>
              <a:t>name </a:t>
            </a:r>
            <a:r>
              <a:rPr lang="tr-TR" sz="1200" i="1" dirty="0" err="1"/>
              <a:t>worker-subnet</a:t>
            </a:r>
            <a:r>
              <a:rPr lang="tr-TR" sz="1200" i="1" dirty="0"/>
              <a:t> </a:t>
            </a:r>
            <a:r>
              <a:rPr lang="tr-TR" sz="1200" i="1" dirty="0" smtClean="0"/>
              <a:t>--</a:t>
            </a:r>
            <a:r>
              <a:rPr lang="tr-TR" sz="1200" i="1" dirty="0" err="1"/>
              <a:t>address-prefixes</a:t>
            </a:r>
            <a:r>
              <a:rPr lang="tr-TR" sz="1200" i="1" dirty="0"/>
              <a:t> 10.0.2.0/23 </a:t>
            </a:r>
            <a:r>
              <a:rPr lang="tr-TR" sz="1200" i="1" dirty="0" smtClean="0"/>
              <a:t>--</a:t>
            </a:r>
            <a:r>
              <a:rPr lang="tr-TR" sz="1200" i="1" dirty="0"/>
              <a:t>service-</a:t>
            </a:r>
            <a:r>
              <a:rPr lang="tr-TR" sz="1200" i="1" dirty="0" err="1"/>
              <a:t>endpoints</a:t>
            </a:r>
            <a:r>
              <a:rPr lang="tr-TR" sz="1200" i="1" dirty="0"/>
              <a:t> </a:t>
            </a:r>
            <a:r>
              <a:rPr lang="tr-TR" sz="1200" i="1" dirty="0" err="1"/>
              <a:t>Microsoft.ContainerRegistry</a:t>
            </a:r>
            <a:endParaRPr lang="tr-TR" sz="1200" i="1" dirty="0"/>
          </a:p>
          <a:p>
            <a:endParaRPr lang="tr-TR" dirty="0" smtClean="0"/>
          </a:p>
          <a:p>
            <a:pPr marL="0" indent="0">
              <a:buNone/>
            </a:pPr>
            <a:r>
              <a:rPr lang="tr-TR" dirty="0" smtClean="0"/>
              <a:t>   </a:t>
            </a:r>
            <a:r>
              <a:rPr lang="en-US" dirty="0" smtClean="0"/>
              <a:t>Disable </a:t>
            </a:r>
            <a:r>
              <a:rPr lang="en-US" dirty="0"/>
              <a:t>subnet private endpoint policies on the master subnet. This is required to be able to connect and manage the cluster</a:t>
            </a:r>
            <a:r>
              <a:rPr lang="en-US" dirty="0" smtClean="0"/>
              <a:t>.</a:t>
            </a:r>
            <a:endParaRPr lang="tr-TR" dirty="0" smtClean="0"/>
          </a:p>
          <a:p>
            <a:r>
              <a:rPr lang="tr-TR" sz="1200" dirty="0"/>
              <a:t>az network </a:t>
            </a:r>
            <a:r>
              <a:rPr lang="tr-TR" sz="1200" dirty="0" err="1"/>
              <a:t>vnet</a:t>
            </a:r>
            <a:r>
              <a:rPr lang="tr-TR" sz="1200" dirty="0"/>
              <a:t> </a:t>
            </a:r>
            <a:r>
              <a:rPr lang="tr-TR" sz="1200" dirty="0" err="1"/>
              <a:t>subnet</a:t>
            </a:r>
            <a:r>
              <a:rPr lang="tr-TR" sz="1200" dirty="0"/>
              <a:t> </a:t>
            </a:r>
            <a:r>
              <a:rPr lang="tr-TR" sz="1200" dirty="0" err="1"/>
              <a:t>update</a:t>
            </a:r>
            <a:r>
              <a:rPr lang="tr-TR" sz="1200" dirty="0"/>
              <a:t> </a:t>
            </a:r>
            <a:r>
              <a:rPr lang="tr-TR" sz="1200" dirty="0" smtClean="0"/>
              <a:t>--</a:t>
            </a:r>
            <a:r>
              <a:rPr lang="tr-TR" sz="1200" dirty="0"/>
              <a:t>name </a:t>
            </a:r>
            <a:r>
              <a:rPr lang="tr-TR" sz="1200" dirty="0" err="1"/>
              <a:t>master-subnet</a:t>
            </a:r>
            <a:r>
              <a:rPr lang="tr-TR" sz="1200" dirty="0"/>
              <a:t> </a:t>
            </a:r>
            <a:r>
              <a:rPr lang="tr-TR" sz="1200" dirty="0" smtClean="0"/>
              <a:t>--</a:t>
            </a:r>
            <a:r>
              <a:rPr lang="tr-TR" sz="1200" dirty="0" err="1"/>
              <a:t>resource-group</a:t>
            </a:r>
            <a:r>
              <a:rPr lang="tr-TR" sz="1200" dirty="0"/>
              <a:t> $RESOURCEGROUP </a:t>
            </a:r>
            <a:r>
              <a:rPr lang="tr-TR" sz="1200" dirty="0" smtClean="0"/>
              <a:t>--</a:t>
            </a:r>
            <a:r>
              <a:rPr lang="tr-TR" sz="1200" dirty="0" err="1"/>
              <a:t>vnet</a:t>
            </a:r>
            <a:r>
              <a:rPr lang="tr-TR" sz="1200" dirty="0"/>
              <a:t>-name </a:t>
            </a:r>
            <a:r>
              <a:rPr lang="tr-TR" sz="1200" dirty="0" err="1"/>
              <a:t>aro-vnet</a:t>
            </a:r>
            <a:r>
              <a:rPr lang="tr-TR" sz="1200" dirty="0"/>
              <a:t> </a:t>
            </a:r>
            <a:r>
              <a:rPr lang="tr-TR" sz="1200" dirty="0" smtClean="0"/>
              <a:t>--</a:t>
            </a:r>
            <a:r>
              <a:rPr lang="tr-TR" sz="1200" dirty="0" err="1"/>
              <a:t>disable</a:t>
            </a:r>
            <a:r>
              <a:rPr lang="tr-TR" sz="1200" dirty="0"/>
              <a:t>-</a:t>
            </a:r>
            <a:r>
              <a:rPr lang="tr-TR" sz="1200" dirty="0" err="1"/>
              <a:t>private</a:t>
            </a:r>
            <a:r>
              <a:rPr lang="tr-TR" sz="1200" dirty="0"/>
              <a:t>-link-service-network-</a:t>
            </a:r>
            <a:r>
              <a:rPr lang="tr-TR" sz="1200" dirty="0" err="1"/>
              <a:t>policies</a:t>
            </a:r>
            <a:r>
              <a:rPr lang="tr-TR" sz="1200" dirty="0"/>
              <a:t> </a:t>
            </a:r>
            <a:r>
              <a:rPr lang="tr-TR" sz="1200" dirty="0" err="1"/>
              <a:t>true</a:t>
            </a:r>
            <a:endParaRPr lang="tr-TR" sz="1200" dirty="0" smtClean="0"/>
          </a:p>
          <a:p>
            <a:endParaRPr lang="tr-TR" dirty="0"/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1184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Create </a:t>
            </a:r>
            <a:r>
              <a:rPr lang="tr-TR" dirty="0" err="1" smtClean="0"/>
              <a:t>the</a:t>
            </a:r>
            <a:r>
              <a:rPr lang="tr-TR" dirty="0" smtClean="0"/>
              <a:t> Cluster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smtClean="0"/>
              <a:t>Installation of ARO 4.x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 dirty="0" smtClean="0">
              <a:hlinkClick r:id="rId2"/>
            </a:endParaRPr>
          </a:p>
          <a:p>
            <a:pPr marL="0" indent="0">
              <a:buNone/>
            </a:pPr>
            <a:r>
              <a:rPr lang="tr-TR" b="1" dirty="0" smtClean="0"/>
              <a:t>    </a:t>
            </a:r>
            <a:r>
              <a:rPr lang="en-US" b="1" dirty="0" err="1"/>
              <a:t>az</a:t>
            </a:r>
            <a:r>
              <a:rPr lang="en-US" b="1" dirty="0"/>
              <a:t> </a:t>
            </a:r>
            <a:r>
              <a:rPr lang="en-US" b="1" dirty="0" err="1"/>
              <a:t>aro</a:t>
            </a:r>
            <a:r>
              <a:rPr lang="en-US" b="1" dirty="0"/>
              <a:t> create \</a:t>
            </a:r>
          </a:p>
          <a:p>
            <a:pPr marL="0" indent="0">
              <a:buNone/>
            </a:pPr>
            <a:r>
              <a:rPr lang="en-US" b="1" dirty="0"/>
              <a:t>  --resource-group $RESOURCEGROUP \</a:t>
            </a:r>
          </a:p>
          <a:p>
            <a:pPr marL="0" indent="0">
              <a:buNone/>
            </a:pPr>
            <a:r>
              <a:rPr lang="en-US" b="1" dirty="0"/>
              <a:t>  --name $CLUSTER \</a:t>
            </a:r>
          </a:p>
          <a:p>
            <a:pPr marL="0" indent="0">
              <a:buNone/>
            </a:pPr>
            <a:r>
              <a:rPr lang="en-US" b="1" dirty="0"/>
              <a:t>  --</a:t>
            </a:r>
            <a:r>
              <a:rPr lang="en-US" b="1" dirty="0" err="1"/>
              <a:t>vnet</a:t>
            </a:r>
            <a:r>
              <a:rPr lang="en-US" b="1" dirty="0"/>
              <a:t> </a:t>
            </a:r>
            <a:r>
              <a:rPr lang="en-US" b="1" dirty="0" err="1"/>
              <a:t>aro-vnet</a:t>
            </a:r>
            <a:r>
              <a:rPr lang="en-US" b="1" dirty="0"/>
              <a:t> \</a:t>
            </a:r>
          </a:p>
          <a:p>
            <a:pPr marL="0" indent="0">
              <a:buNone/>
            </a:pPr>
            <a:r>
              <a:rPr lang="en-US" b="1" dirty="0"/>
              <a:t>  --master-subnet </a:t>
            </a:r>
            <a:r>
              <a:rPr lang="en-US" b="1" dirty="0" err="1"/>
              <a:t>master-subnet</a:t>
            </a:r>
            <a:r>
              <a:rPr lang="en-US" b="1" dirty="0"/>
              <a:t> \</a:t>
            </a:r>
          </a:p>
          <a:p>
            <a:pPr marL="0" indent="0">
              <a:buNone/>
            </a:pPr>
            <a:r>
              <a:rPr lang="en-US" b="1" dirty="0"/>
              <a:t>  --worker-subnet </a:t>
            </a:r>
            <a:r>
              <a:rPr lang="en-US" b="1" dirty="0" err="1" smtClean="0"/>
              <a:t>worker-subnet</a:t>
            </a:r>
            <a:r>
              <a:rPr lang="tr-TR" b="1" dirty="0" smtClean="0"/>
              <a:t> \</a:t>
            </a:r>
          </a:p>
          <a:p>
            <a:pPr marL="0" indent="0">
              <a:buNone/>
            </a:pPr>
            <a:r>
              <a:rPr lang="en-US" b="1" dirty="0" smtClean="0"/>
              <a:t> </a:t>
            </a:r>
            <a:r>
              <a:rPr lang="en-US" b="1" dirty="0"/>
              <a:t>--pull-secret @pull-secret.txt </a:t>
            </a:r>
            <a:endParaRPr lang="tr-TR" b="1" dirty="0" smtClean="0"/>
          </a:p>
          <a:p>
            <a:pPr marL="0" indent="0">
              <a:buNone/>
            </a:pPr>
            <a:r>
              <a:rPr lang="en-US" b="1" dirty="0" smtClean="0"/>
              <a:t># </a:t>
            </a:r>
            <a:r>
              <a:rPr lang="en-US" b="1" dirty="0"/>
              <a:t>--domain foo.example.com # [OPTIONAL] custom domain</a:t>
            </a:r>
          </a:p>
          <a:p>
            <a:pPr marL="0" indent="0">
              <a:buNone/>
            </a:pPr>
            <a:r>
              <a:rPr lang="en-US" b="1" dirty="0"/>
              <a:t>  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0542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Connect to the cluster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en-US" b="1" dirty="0"/>
              <a:t>Connect to an Azure Red Hat OpenShift 4 clust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aro</a:t>
            </a:r>
            <a:r>
              <a:rPr lang="en-US" dirty="0"/>
              <a:t> list-credentials </a:t>
            </a:r>
            <a:r>
              <a:rPr lang="en-US" dirty="0" smtClean="0"/>
              <a:t>  </a:t>
            </a:r>
            <a:r>
              <a:rPr lang="en-US" dirty="0"/>
              <a:t>--name $CLUSTER </a:t>
            </a:r>
            <a:r>
              <a:rPr lang="en-US" dirty="0" smtClean="0"/>
              <a:t>--</a:t>
            </a:r>
            <a:r>
              <a:rPr lang="en-US" dirty="0"/>
              <a:t>resource-group $RESOURCEGROUP</a:t>
            </a:r>
            <a:r>
              <a:rPr lang="en-US" b="1" dirty="0" smtClean="0"/>
              <a:t> </a:t>
            </a:r>
            <a:endParaRPr lang="tr-TR" b="1" dirty="0" smtClean="0"/>
          </a:p>
          <a:p>
            <a:pPr marL="0" indent="0">
              <a:buNone/>
            </a:pPr>
            <a:r>
              <a:rPr lang="tr-TR" b="1" dirty="0"/>
              <a:t>    {</a:t>
            </a:r>
          </a:p>
          <a:p>
            <a:pPr marL="0" indent="0">
              <a:buNone/>
            </a:pPr>
            <a:r>
              <a:rPr lang="tr-TR" b="1" dirty="0"/>
              <a:t>  "</a:t>
            </a:r>
            <a:r>
              <a:rPr lang="tr-TR" b="1" dirty="0" err="1"/>
              <a:t>kubeadminPassword</a:t>
            </a:r>
            <a:r>
              <a:rPr lang="tr-TR" b="1" dirty="0"/>
              <a:t>": "&lt;</a:t>
            </a:r>
            <a:r>
              <a:rPr lang="tr-TR" b="1" dirty="0" err="1"/>
              <a:t>generated</a:t>
            </a:r>
            <a:r>
              <a:rPr lang="tr-TR" b="1" dirty="0"/>
              <a:t> </a:t>
            </a:r>
            <a:r>
              <a:rPr lang="tr-TR" b="1" dirty="0" err="1"/>
              <a:t>password</a:t>
            </a:r>
            <a:r>
              <a:rPr lang="tr-TR" b="1" dirty="0"/>
              <a:t>&gt;",</a:t>
            </a:r>
          </a:p>
          <a:p>
            <a:pPr marL="0" indent="0">
              <a:buNone/>
            </a:pPr>
            <a:r>
              <a:rPr lang="tr-TR" b="1" dirty="0"/>
              <a:t>  "</a:t>
            </a:r>
            <a:r>
              <a:rPr lang="tr-TR" b="1" dirty="0" err="1"/>
              <a:t>kubeadminUsername</a:t>
            </a:r>
            <a:r>
              <a:rPr lang="tr-TR" b="1" dirty="0"/>
              <a:t>": "</a:t>
            </a:r>
            <a:r>
              <a:rPr lang="tr-TR" b="1" dirty="0" err="1"/>
              <a:t>kubeadmin</a:t>
            </a:r>
            <a:r>
              <a:rPr lang="tr-TR" b="1" dirty="0"/>
              <a:t>"</a:t>
            </a:r>
          </a:p>
          <a:p>
            <a:pPr marL="0" indent="0">
              <a:buNone/>
            </a:pPr>
            <a:r>
              <a:rPr lang="tr-TR" b="1" dirty="0" smtClean="0"/>
              <a:t>     }</a:t>
            </a:r>
          </a:p>
          <a:p>
            <a:pPr marL="0" indent="0">
              <a:buNone/>
            </a:pPr>
            <a:endParaRPr lang="tr-TR" b="1" dirty="0"/>
          </a:p>
          <a:p>
            <a:r>
              <a:rPr lang="en-US" b="1" dirty="0" err="1"/>
              <a:t>az</a:t>
            </a:r>
            <a:r>
              <a:rPr lang="en-US" b="1" dirty="0"/>
              <a:t> </a:t>
            </a:r>
            <a:r>
              <a:rPr lang="en-US" b="1" dirty="0" err="1"/>
              <a:t>aro</a:t>
            </a:r>
            <a:r>
              <a:rPr lang="en-US" b="1" dirty="0"/>
              <a:t> show </a:t>
            </a:r>
            <a:r>
              <a:rPr lang="en-US" b="1" dirty="0" smtClean="0"/>
              <a:t> --</a:t>
            </a:r>
            <a:r>
              <a:rPr lang="en-US" b="1" dirty="0"/>
              <a:t>name $CLUSTER </a:t>
            </a:r>
            <a:r>
              <a:rPr lang="tr-TR" b="1" dirty="0"/>
              <a:t> </a:t>
            </a:r>
            <a:r>
              <a:rPr lang="en-US" b="1" dirty="0" smtClean="0"/>
              <a:t>--</a:t>
            </a:r>
            <a:r>
              <a:rPr lang="en-US" b="1" dirty="0"/>
              <a:t>resource-group $</a:t>
            </a:r>
            <a:r>
              <a:rPr lang="en-US" b="1" dirty="0" smtClean="0"/>
              <a:t>RESOURCEGROUP </a:t>
            </a:r>
            <a:r>
              <a:rPr lang="en-US" b="1" dirty="0"/>
              <a:t>--query "consoleProfile.url" -o </a:t>
            </a:r>
            <a:r>
              <a:rPr lang="en-US" b="1" dirty="0" err="1"/>
              <a:t>tsv</a:t>
            </a:r>
            <a:r>
              <a:rPr lang="en-US" b="1" dirty="0"/>
              <a:t> 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463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Install the OpenShift CLI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en-US" b="1" dirty="0" smtClean="0"/>
              <a:t>Connect to an Azure Red Hat OpenShift 4 cluster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65045" y="1060105"/>
            <a:ext cx="4891993" cy="324007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36712" y="1374694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cd ~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 err="1"/>
              <a:t>wget</a:t>
            </a:r>
            <a:r>
              <a:rPr lang="tr-TR" dirty="0"/>
              <a:t> https://mirror.openshift.com/pub/openshift-v4/clients/ocp/latest/openshift-client-linux.tar.gz</a:t>
            </a:r>
          </a:p>
          <a:p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 err="1"/>
              <a:t>mkdir</a:t>
            </a:r>
            <a:r>
              <a:rPr lang="tr-TR" dirty="0"/>
              <a:t> </a:t>
            </a:r>
            <a:r>
              <a:rPr lang="tr-TR" dirty="0" err="1"/>
              <a:t>openshift</a:t>
            </a:r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tar -</a:t>
            </a:r>
            <a:r>
              <a:rPr lang="tr-TR" dirty="0" err="1"/>
              <a:t>zxvf</a:t>
            </a:r>
            <a:r>
              <a:rPr lang="tr-TR" dirty="0"/>
              <a:t> openshift-client-linux.tar.gz -C </a:t>
            </a:r>
            <a:r>
              <a:rPr lang="tr-TR" dirty="0" err="1"/>
              <a:t>openshift</a:t>
            </a:r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 err="1"/>
              <a:t>echo</a:t>
            </a:r>
            <a:r>
              <a:rPr lang="tr-TR" dirty="0"/>
              <a:t> '</a:t>
            </a:r>
            <a:r>
              <a:rPr lang="tr-TR" dirty="0" err="1"/>
              <a:t>export</a:t>
            </a:r>
            <a:r>
              <a:rPr lang="tr-TR" dirty="0"/>
              <a:t> PATH=$PATH:~/</a:t>
            </a:r>
            <a:r>
              <a:rPr lang="tr-TR" dirty="0" err="1"/>
              <a:t>openshift</a:t>
            </a:r>
            <a:r>
              <a:rPr lang="tr-TR" dirty="0"/>
              <a:t>' &gt;&gt; ~/.</a:t>
            </a:r>
            <a:r>
              <a:rPr lang="tr-TR" dirty="0" err="1"/>
              <a:t>bashrc</a:t>
            </a:r>
            <a:r>
              <a:rPr lang="tr-TR" dirty="0"/>
              <a:t> &amp;&amp; </a:t>
            </a:r>
            <a:r>
              <a:rPr lang="tr-TR" dirty="0" err="1"/>
              <a:t>source</a:t>
            </a:r>
            <a:r>
              <a:rPr lang="tr-TR" dirty="0"/>
              <a:t> ~/.</a:t>
            </a:r>
            <a:r>
              <a:rPr lang="tr-TR" dirty="0" err="1"/>
              <a:t>bashrc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86438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1E395FAC-013C-45D0-94D2-8A463411554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5" b="15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418C3F-84E0-4730-8FA7-79B2A3DD49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A8F917-FB59-48C0-8A1B-8CD6CD728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E9566C-F184-4AA4-9C67-E29EA369B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500" dirty="0">
                <a:gradFill flip="none" rotWithShape="1">
                  <a:gsLst>
                    <a:gs pos="0">
                      <a:schemeClr val="accent1">
                        <a:shade val="30000"/>
                        <a:satMod val="115000"/>
                      </a:schemeClr>
                    </a:gs>
                    <a:gs pos="50000">
                      <a:schemeClr val="accent1">
                        <a:shade val="67500"/>
                        <a:satMod val="115000"/>
                      </a:schemeClr>
                    </a:gs>
                    <a:gs pos="100000">
                      <a:schemeClr val="accent1">
                        <a:shade val="100000"/>
                        <a:satMod val="115000"/>
                      </a:schemeClr>
                    </a:gs>
                  </a:gsLst>
                  <a:lin ang="0" scaled="1"/>
                  <a:tileRect/>
                </a:gradFill>
              </a:rPr>
              <a:t>SoftwareONE</a:t>
            </a:r>
            <a:endParaRPr lang="en-US" spc="500" dirty="0"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E1D11B6-858B-4CE3-B0E7-50F92018152D}"/>
              </a:ext>
            </a:extLst>
          </p:cNvPr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r>
              <a:rPr lang="de-DE" dirty="0"/>
              <a:t>EMPOWERING COMPANIES TO TRANSFORM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262174-DE22-46B5-8BAE-1056250D1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C42258-7521-48FF-A437-90F559D8C6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289506-D621-4CA9-A278-37197D1632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84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en-US" dirty="0"/>
              <a:t>Connect using the OpenShift CLI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en-US" b="1" dirty="0" smtClean="0"/>
              <a:t>Connect to an Azure Red Hat OpenShift 4 cluster</a:t>
            </a: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36712" y="1268413"/>
            <a:ext cx="11520325" cy="4875211"/>
          </a:xfrm>
        </p:spPr>
        <p:txBody>
          <a:bodyPr/>
          <a:lstStyle/>
          <a:p>
            <a:r>
              <a:rPr lang="tr-TR" dirty="0" err="1" smtClean="0"/>
              <a:t>apiServer</a:t>
            </a:r>
            <a:r>
              <a:rPr lang="tr-TR" dirty="0"/>
              <a:t>=$(az </a:t>
            </a:r>
            <a:r>
              <a:rPr lang="tr-TR" dirty="0" err="1"/>
              <a:t>aro</a:t>
            </a:r>
            <a:r>
              <a:rPr lang="tr-TR" dirty="0"/>
              <a:t> </a:t>
            </a:r>
            <a:r>
              <a:rPr lang="tr-TR" dirty="0" err="1"/>
              <a:t>show</a:t>
            </a:r>
            <a:r>
              <a:rPr lang="tr-TR" dirty="0"/>
              <a:t> -g $RESOURCEGROUP -n $CLUSTER --</a:t>
            </a:r>
            <a:r>
              <a:rPr lang="tr-TR" dirty="0" err="1"/>
              <a:t>query</a:t>
            </a:r>
            <a:r>
              <a:rPr lang="tr-TR" dirty="0"/>
              <a:t> apiserverProfile.url -o </a:t>
            </a:r>
            <a:r>
              <a:rPr lang="tr-TR" dirty="0" err="1"/>
              <a:t>tsv</a:t>
            </a:r>
            <a:r>
              <a:rPr lang="tr-TR" dirty="0" smtClean="0"/>
              <a:t>)</a:t>
            </a:r>
          </a:p>
          <a:p>
            <a:endParaRPr lang="tr-TR" dirty="0"/>
          </a:p>
          <a:p>
            <a:r>
              <a:rPr lang="tr-TR" dirty="0" err="1"/>
              <a:t>oc</a:t>
            </a:r>
            <a:r>
              <a:rPr lang="tr-TR" dirty="0"/>
              <a:t> </a:t>
            </a:r>
            <a:r>
              <a:rPr lang="tr-TR" dirty="0" err="1"/>
              <a:t>login</a:t>
            </a:r>
            <a:r>
              <a:rPr lang="tr-TR" dirty="0"/>
              <a:t> $</a:t>
            </a:r>
            <a:r>
              <a:rPr lang="tr-TR" dirty="0" err="1"/>
              <a:t>apiServer</a:t>
            </a:r>
            <a:r>
              <a:rPr lang="tr-TR" dirty="0"/>
              <a:t> -u </a:t>
            </a:r>
            <a:r>
              <a:rPr lang="tr-TR" dirty="0" err="1"/>
              <a:t>kubeadmin</a:t>
            </a:r>
            <a:r>
              <a:rPr lang="tr-TR" dirty="0"/>
              <a:t> -p &lt;</a:t>
            </a:r>
            <a:r>
              <a:rPr lang="tr-TR" dirty="0" err="1"/>
              <a:t>kubeadmin</a:t>
            </a:r>
            <a:r>
              <a:rPr lang="tr-TR" dirty="0"/>
              <a:t> </a:t>
            </a:r>
            <a:r>
              <a:rPr lang="tr-TR" dirty="0" err="1"/>
              <a:t>password</a:t>
            </a:r>
            <a:r>
              <a:rPr lang="tr-TR" dirty="0"/>
              <a:t>&gt;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" y="3107315"/>
            <a:ext cx="11059786" cy="2079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22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410DD921-BF1E-4528-930E-5705B49DB92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F0988C-AE20-47BE-BFA8-6A957FA5DF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E17442-B122-463F-BC6F-3155C5FB0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itle 10">
            <a:extLst>
              <a:ext uri="{FF2B5EF4-FFF2-40B4-BE49-F238E27FC236}">
                <a16:creationId xmlns:a16="http://schemas.microsoft.com/office/drawing/2014/main" id="{7911DD1F-63FB-42E8-9CDF-297567B1E49F}"/>
              </a:ext>
            </a:extLst>
          </p:cNvPr>
          <p:cNvSpPr txBox="1">
            <a:spLocks/>
          </p:cNvSpPr>
          <p:nvPr/>
        </p:nvSpPr>
        <p:spPr>
          <a:xfrm>
            <a:off x="2495550" y="572238"/>
            <a:ext cx="7200900" cy="5736487"/>
          </a:xfrm>
          <a:prstGeom prst="rect">
            <a:avLst/>
          </a:prstGeom>
        </p:spPr>
        <p:txBody>
          <a:bodyPr anchor="ctr"/>
          <a:lstStyle>
            <a:lvl1pPr algn="l" defTabSz="8925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cap="none" spc="-98" baseline="0" dirty="0" smtClean="0">
                <a:ln w="3175">
                  <a:noFill/>
                </a:ln>
                <a:solidFill>
                  <a:schemeClr val="accent1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algn="ctr"/>
            <a:r>
              <a:rPr lang="en-US" sz="7200">
                <a:solidFill>
                  <a:schemeClr val="bg1"/>
                </a:solidFill>
                <a:ea typeface="Montserrat Semi" charset="0"/>
                <a:cs typeface="Montserrat Semi" charset="0"/>
              </a:rPr>
              <a:t>THANK YOU!</a:t>
            </a:r>
            <a:endParaRPr lang="en-US" sz="7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45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155953-17AD-47AC-BBF0-B136D12A75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3E820BF-6086-414B-8F1E-FEDA6887F6C3}"/>
              </a:ext>
            </a:extLst>
          </p:cNvPr>
          <p:cNvSpPr/>
          <p:nvPr/>
        </p:nvSpPr>
        <p:spPr bwMode="auto">
          <a:xfrm>
            <a:off x="1815295" y="1989138"/>
            <a:ext cx="1597025" cy="3907463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32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Placeholder 30" descr="A picture containing man, building, water sport, swimming&#10;&#10;Description automatically generated">
            <a:extLst>
              <a:ext uri="{FF2B5EF4-FFF2-40B4-BE49-F238E27FC236}">
                <a16:creationId xmlns:a16="http://schemas.microsoft.com/office/drawing/2014/main" id="{F093DDAC-B08D-4F0E-956D-0E3768B08FE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6588" y="1"/>
            <a:ext cx="3935412" cy="6858000"/>
          </a:xfr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CABEE93D-1491-4AE7-B7E2-D832FFA06C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OCP 4 Workshop </a:t>
            </a:r>
            <a:r>
              <a:rPr lang="tr-TR" dirty="0" err="1" smtClean="0"/>
              <a:t>Agenda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029031D-82A6-4219-9BF8-4C7852E3AEB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54119" y="1146580"/>
            <a:ext cx="6942866" cy="597600"/>
          </a:xfrm>
        </p:spPr>
        <p:txBody>
          <a:bodyPr/>
          <a:lstStyle/>
          <a:p>
            <a:r>
              <a:rPr lang="tr-TR" dirty="0" err="1" smtClean="0"/>
              <a:t>Who</a:t>
            </a:r>
            <a:r>
              <a:rPr lang="tr-TR" dirty="0" smtClean="0"/>
              <a:t> </a:t>
            </a:r>
            <a:r>
              <a:rPr lang="tr-TR" dirty="0" err="1" smtClean="0"/>
              <a:t>we</a:t>
            </a:r>
            <a:r>
              <a:rPr lang="tr-TR" dirty="0" smtClean="0"/>
              <a:t> </a:t>
            </a:r>
            <a:r>
              <a:rPr lang="tr-TR" dirty="0" err="1" smtClean="0"/>
              <a:t>are</a:t>
            </a:r>
            <a:r>
              <a:rPr lang="tr-TR" dirty="0" smtClean="0"/>
              <a:t>…</a:t>
            </a:r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928DA6C-A907-42D5-B215-DEA5F4FD814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55408" y="2012312"/>
            <a:ext cx="6941577" cy="597600"/>
          </a:xfrm>
        </p:spPr>
        <p:txBody>
          <a:bodyPr/>
          <a:lstStyle/>
          <a:p>
            <a:r>
              <a:rPr lang="tr-TR" dirty="0" err="1" smtClean="0"/>
              <a:t>For</a:t>
            </a:r>
            <a:r>
              <a:rPr lang="tr-TR" dirty="0" smtClean="0"/>
              <a:t> </a:t>
            </a:r>
            <a:r>
              <a:rPr lang="tr-TR" dirty="0" err="1" smtClean="0"/>
              <a:t>Infrastructure</a:t>
            </a:r>
            <a:r>
              <a:rPr lang="tr-TR" dirty="0" smtClean="0"/>
              <a:t> </a:t>
            </a:r>
            <a:r>
              <a:rPr lang="tr-TR" dirty="0" err="1" smtClean="0"/>
              <a:t>Specialists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9E3F3B6-1E23-4EE0-B679-192F2C8B91D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55692" y="2783763"/>
            <a:ext cx="6941578" cy="597600"/>
          </a:xfrm>
        </p:spPr>
        <p:txBody>
          <a:bodyPr/>
          <a:lstStyle/>
          <a:p>
            <a:r>
              <a:rPr lang="tr-TR" dirty="0" err="1" smtClean="0"/>
              <a:t>For</a:t>
            </a:r>
            <a:r>
              <a:rPr lang="tr-TR" dirty="0" smtClean="0"/>
              <a:t> Developers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3B7074F7-AA2C-4E32-99B2-6D9438ACECB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54119" y="3600744"/>
            <a:ext cx="6942866" cy="597600"/>
          </a:xfrm>
        </p:spPr>
        <p:txBody>
          <a:bodyPr/>
          <a:lstStyle/>
          <a:p>
            <a:r>
              <a:rPr lang="tr-TR" dirty="0" err="1" smtClean="0"/>
              <a:t>Architectural</a:t>
            </a:r>
            <a:r>
              <a:rPr lang="tr-TR" dirty="0" smtClean="0"/>
              <a:t> </a:t>
            </a:r>
            <a:r>
              <a:rPr lang="tr-TR" dirty="0" err="1" smtClean="0"/>
              <a:t>Overview</a:t>
            </a:r>
            <a:r>
              <a:rPr lang="tr-TR" dirty="0" smtClean="0"/>
              <a:t> of </a:t>
            </a:r>
            <a:r>
              <a:rPr lang="tr-TR" dirty="0" err="1" smtClean="0"/>
              <a:t>Workshops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5338366-AC19-49AB-A8E1-CB348BFF858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55687" y="4417725"/>
            <a:ext cx="6941579" cy="59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E22DBDF-59E1-465A-BA88-C52081653A2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55688" y="5234703"/>
            <a:ext cx="6941577" cy="59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1FD813E-781E-4594-AA79-9B66884FC8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tr-TR" dirty="0" smtClean="0"/>
              <a:t>01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0223E74-6818-43EC-A627-270BDB4A157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tr-TR" dirty="0" smtClean="0"/>
              <a:t>02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0A548E1-31E7-4186-B972-59F7796E568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tr-TR" dirty="0" smtClean="0"/>
              <a:t>03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5F9BB09-FA23-40D9-B795-72F47B5FDF5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tr-TR" dirty="0" smtClean="0"/>
              <a:t>04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9E76530-D37F-405A-BF82-6875857D38F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83E09EE-6270-425C-A8CD-A586B8A6074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28478B-96B6-4226-A9BE-B10CB7241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5398B8-8638-42BA-9144-CFC254615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49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Team </a:t>
            </a:r>
            <a:r>
              <a:rPr lang="tr-TR" dirty="0" err="1" smtClean="0"/>
              <a:t>Member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80660"/>
            <a:ext cx="11522075" cy="4875211"/>
          </a:xfrm>
        </p:spPr>
        <p:txBody>
          <a:bodyPr/>
          <a:lstStyle/>
          <a:p>
            <a:r>
              <a:rPr lang="tr-TR" dirty="0" smtClean="0"/>
              <a:t>Celalettin </a:t>
            </a:r>
            <a:r>
              <a:rPr lang="tr-TR" dirty="0"/>
              <a:t>Altınpınar - </a:t>
            </a:r>
            <a:r>
              <a:rPr lang="tr-TR" dirty="0" err="1"/>
              <a:t>Technology</a:t>
            </a:r>
            <a:r>
              <a:rPr lang="tr-TR" dirty="0"/>
              <a:t> &amp; Solution Development </a:t>
            </a:r>
            <a:r>
              <a:rPr lang="tr-TR" dirty="0" smtClean="0"/>
              <a:t>Manager</a:t>
            </a:r>
            <a:endParaRPr lang="tr-TR" dirty="0"/>
          </a:p>
          <a:p>
            <a:endParaRPr lang="tr-TR" dirty="0" smtClean="0"/>
          </a:p>
          <a:p>
            <a:endParaRPr lang="tr-TR" dirty="0"/>
          </a:p>
          <a:p>
            <a:pPr marL="0" indent="0">
              <a:buNone/>
            </a:pPr>
            <a:endParaRPr lang="tr-TR" dirty="0"/>
          </a:p>
          <a:p>
            <a:r>
              <a:rPr lang="tr-TR" dirty="0" smtClean="0"/>
              <a:t>Mustafa Uysal – Solution Architect</a:t>
            </a:r>
          </a:p>
          <a:p>
            <a:endParaRPr lang="tr-TR" dirty="0" smtClean="0"/>
          </a:p>
          <a:p>
            <a:endParaRPr lang="tr-TR" dirty="0" smtClean="0"/>
          </a:p>
          <a:p>
            <a:pPr marL="0" indent="0">
              <a:buNone/>
            </a:pPr>
            <a:endParaRPr lang="tr-TR" dirty="0" smtClean="0"/>
          </a:p>
          <a:p>
            <a:r>
              <a:rPr lang="tr-TR" dirty="0" smtClean="0"/>
              <a:t>Altuğ Yıldırım – </a:t>
            </a:r>
            <a:r>
              <a:rPr lang="tr-TR" dirty="0" err="1" smtClean="0"/>
              <a:t>DevOps</a:t>
            </a:r>
            <a:r>
              <a:rPr lang="tr-TR" dirty="0" smtClean="0"/>
              <a:t> Solutions </a:t>
            </a:r>
            <a:r>
              <a:rPr lang="tr-TR" dirty="0" err="1" smtClean="0"/>
              <a:t>Lead</a:t>
            </a:r>
            <a:endParaRPr lang="tr-TR" dirty="0" smtClean="0"/>
          </a:p>
          <a:p>
            <a:endParaRPr lang="tr-TR" dirty="0" smtClean="0"/>
          </a:p>
          <a:p>
            <a:pPr marL="0" indent="0">
              <a:buNone/>
            </a:pPr>
            <a:r>
              <a:rPr lang="tr-TR" dirty="0" smtClean="0"/>
              <a:t>   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514738"/>
          </a:xfrm>
        </p:spPr>
        <p:txBody>
          <a:bodyPr/>
          <a:lstStyle/>
          <a:p>
            <a:r>
              <a:rPr lang="tr-TR" dirty="0" err="1" smtClean="0"/>
              <a:t>Who</a:t>
            </a:r>
            <a:r>
              <a:rPr lang="tr-TR" dirty="0" smtClean="0"/>
              <a:t> </a:t>
            </a:r>
            <a:r>
              <a:rPr lang="tr-TR" dirty="0" err="1" smtClean="0"/>
              <a:t>we</a:t>
            </a:r>
            <a:r>
              <a:rPr lang="tr-TR" dirty="0" smtClean="0"/>
              <a:t> </a:t>
            </a:r>
            <a:r>
              <a:rPr lang="tr-TR" dirty="0" err="1" smtClean="0"/>
              <a:t>are</a:t>
            </a:r>
            <a:r>
              <a:rPr lang="tr-TR" dirty="0" smtClean="0"/>
              <a:t>…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676" y="1619436"/>
            <a:ext cx="814747" cy="10322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091" y="1619436"/>
            <a:ext cx="2026917" cy="10322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676" y="3189240"/>
            <a:ext cx="814747" cy="103227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090" y="4835680"/>
            <a:ext cx="2026917" cy="10322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328" y="4858291"/>
            <a:ext cx="1163441" cy="1009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1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Day</a:t>
            </a:r>
            <a:r>
              <a:rPr lang="tr-TR" dirty="0"/>
              <a:t> 1 – </a:t>
            </a:r>
            <a:r>
              <a:rPr lang="tr-TR" dirty="0" err="1"/>
              <a:t>Theorical</a:t>
            </a:r>
            <a:r>
              <a:rPr lang="tr-TR" dirty="0"/>
              <a:t>	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28604"/>
            <a:ext cx="11522075" cy="4875211"/>
          </a:xfrm>
        </p:spPr>
        <p:txBody>
          <a:bodyPr/>
          <a:lstStyle/>
          <a:p>
            <a:pPr lvl="0"/>
            <a:r>
              <a:rPr lang="tr-TR" sz="1000" dirty="0"/>
              <a:t>Linux </a:t>
            </a:r>
            <a:r>
              <a:rPr lang="tr-TR" sz="1000" dirty="0" err="1"/>
              <a:t>Containers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</a:t>
            </a:r>
            <a:r>
              <a:rPr lang="tr-TR" sz="1000" dirty="0" err="1"/>
              <a:t>Concepts</a:t>
            </a:r>
            <a:r>
              <a:rPr lang="tr-TR" sz="1000" dirty="0"/>
              <a:t> </a:t>
            </a:r>
            <a:r>
              <a:rPr lang="tr-TR" sz="1000" dirty="0" err="1"/>
              <a:t>Overview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Architecture</a:t>
            </a:r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Installation </a:t>
            </a:r>
            <a:r>
              <a:rPr lang="tr-TR" sz="1000" dirty="0" smtClean="0"/>
              <a:t>Architecture </a:t>
            </a:r>
            <a:endParaRPr lang="tr-TR" sz="1000" dirty="0"/>
          </a:p>
          <a:p>
            <a:pPr lvl="0"/>
            <a:r>
              <a:rPr lang="tr-TR" sz="1000" dirty="0"/>
              <a:t>Technical </a:t>
            </a:r>
            <a:r>
              <a:rPr lang="tr-TR" sz="1000" dirty="0" err="1"/>
              <a:t>Deep</a:t>
            </a:r>
            <a:r>
              <a:rPr lang="tr-TR" sz="1000" dirty="0"/>
              <a:t> </a:t>
            </a:r>
            <a:r>
              <a:rPr lang="tr-TR" sz="1000" dirty="0" err="1"/>
              <a:t>Dive</a:t>
            </a:r>
            <a:endParaRPr lang="tr-TR" sz="1000" dirty="0"/>
          </a:p>
          <a:p>
            <a:pPr lvl="1"/>
            <a:r>
              <a:rPr lang="tr-TR" sz="1000" dirty="0" err="1"/>
              <a:t>Monitoring</a:t>
            </a:r>
            <a:r>
              <a:rPr lang="tr-TR" sz="1000" dirty="0"/>
              <a:t> Application </a:t>
            </a:r>
            <a:r>
              <a:rPr lang="tr-TR" sz="1000" dirty="0" err="1" smtClean="0"/>
              <a:t>Health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smtClean="0"/>
              <a:t>Networking *</a:t>
            </a:r>
            <a:endParaRPr lang="tr-TR" sz="1000" dirty="0"/>
          </a:p>
          <a:p>
            <a:pPr lvl="1"/>
            <a:r>
              <a:rPr lang="tr-TR" sz="1000" dirty="0" err="1"/>
              <a:t>Logging</a:t>
            </a:r>
            <a:r>
              <a:rPr lang="tr-TR" sz="1000" dirty="0"/>
              <a:t> &amp; </a:t>
            </a:r>
            <a:r>
              <a:rPr lang="tr-TR" sz="1000" dirty="0" err="1" smtClean="0"/>
              <a:t>Metrics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smtClean="0"/>
              <a:t>Security *</a:t>
            </a:r>
            <a:endParaRPr lang="tr-TR" sz="1000" dirty="0"/>
          </a:p>
          <a:p>
            <a:pPr lvl="1"/>
            <a:r>
              <a:rPr lang="tr-TR" sz="1000" dirty="0" err="1"/>
              <a:t>Persistent</a:t>
            </a:r>
            <a:r>
              <a:rPr lang="tr-TR" sz="1000" dirty="0"/>
              <a:t> </a:t>
            </a:r>
            <a:r>
              <a:rPr lang="tr-TR" sz="1000" dirty="0" smtClean="0"/>
              <a:t>Storage *</a:t>
            </a:r>
            <a:endParaRPr lang="tr-TR" sz="1000" dirty="0"/>
          </a:p>
          <a:p>
            <a:pPr lvl="1"/>
            <a:r>
              <a:rPr lang="tr-TR" sz="1000" dirty="0" err="1" smtClean="0"/>
              <a:t>Operator</a:t>
            </a:r>
            <a:r>
              <a:rPr lang="tr-TR" sz="1000" dirty="0" smtClean="0"/>
              <a:t> Framework *</a:t>
            </a:r>
            <a:endParaRPr lang="tr-TR" sz="1000" dirty="0"/>
          </a:p>
          <a:p>
            <a:pPr lvl="1"/>
            <a:r>
              <a:rPr lang="tr-TR" sz="1000" dirty="0"/>
              <a:t>Reference </a:t>
            </a:r>
            <a:r>
              <a:rPr lang="tr-TR" sz="1000" dirty="0" err="1" smtClean="0"/>
              <a:t>Architectures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err="1"/>
              <a:t>Build</a:t>
            </a:r>
            <a:r>
              <a:rPr lang="tr-TR" sz="1000" dirty="0"/>
              <a:t> &amp; </a:t>
            </a:r>
            <a:r>
              <a:rPr lang="tr-TR" sz="1000" dirty="0" err="1"/>
              <a:t>Deploy</a:t>
            </a:r>
            <a:r>
              <a:rPr lang="tr-TR" sz="1000" dirty="0"/>
              <a:t> </a:t>
            </a:r>
            <a:r>
              <a:rPr lang="tr-TR" sz="1000" dirty="0" err="1"/>
              <a:t>Container</a:t>
            </a:r>
            <a:r>
              <a:rPr lang="tr-TR" sz="1000" dirty="0"/>
              <a:t> </a:t>
            </a:r>
            <a:r>
              <a:rPr lang="tr-TR" sz="1000" dirty="0" err="1"/>
              <a:t>Images</a:t>
            </a:r>
            <a:endParaRPr lang="tr-TR" sz="1000" dirty="0"/>
          </a:p>
          <a:p>
            <a:pPr lvl="1"/>
            <a:r>
              <a:rPr lang="tr-TR" sz="1000" dirty="0" err="1"/>
              <a:t>Continuous</a:t>
            </a:r>
            <a:r>
              <a:rPr lang="tr-TR" sz="1000" dirty="0"/>
              <a:t> Integration (CI) &amp; </a:t>
            </a:r>
            <a:r>
              <a:rPr lang="tr-TR" sz="1000" dirty="0" err="1"/>
              <a:t>Continuous</a:t>
            </a:r>
            <a:r>
              <a:rPr lang="tr-TR" sz="1000" dirty="0"/>
              <a:t> Delivery (CD)</a:t>
            </a:r>
          </a:p>
          <a:p>
            <a:pPr lvl="1"/>
            <a:r>
              <a:rPr lang="tr-TR" sz="1000" dirty="0"/>
              <a:t>Developer </a:t>
            </a:r>
            <a:r>
              <a:rPr lang="tr-TR" sz="1000" dirty="0" err="1"/>
              <a:t>Workflow</a:t>
            </a:r>
            <a:endParaRPr lang="tr-TR" sz="1000" dirty="0"/>
          </a:p>
          <a:p>
            <a:pPr lvl="1"/>
            <a:r>
              <a:rPr lang="tr-TR" sz="1000" dirty="0"/>
              <a:t>Application Services</a:t>
            </a:r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4</a:t>
            </a:r>
          </a:p>
          <a:p>
            <a:pPr marL="0" indent="0">
              <a:buNone/>
            </a:pPr>
            <a:r>
              <a:rPr lang="tr-TR" sz="1000" dirty="0" smtClean="0"/>
              <a:t>* </a:t>
            </a:r>
            <a:r>
              <a:rPr lang="tr-TR" sz="1000" dirty="0"/>
              <a:t>: </a:t>
            </a:r>
            <a:r>
              <a:rPr lang="tr-TR" sz="1000" dirty="0" err="1"/>
              <a:t>especially</a:t>
            </a:r>
            <a:r>
              <a:rPr lang="tr-TR" sz="1000" dirty="0"/>
              <a:t> </a:t>
            </a:r>
            <a:r>
              <a:rPr lang="tr-TR" sz="1000" dirty="0" err="1"/>
              <a:t>to</a:t>
            </a:r>
            <a:r>
              <a:rPr lang="tr-TR" sz="1000" dirty="0"/>
              <a:t> be </a:t>
            </a:r>
            <a:r>
              <a:rPr lang="tr-TR" sz="1000" dirty="0" err="1"/>
              <a:t>explained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514738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err="1"/>
              <a:t>Infrastructure</a:t>
            </a:r>
            <a:r>
              <a:rPr lang="tr-TR" dirty="0"/>
              <a:t> </a:t>
            </a:r>
            <a:r>
              <a:rPr lang="tr-TR" dirty="0" err="1" smtClean="0"/>
              <a:t>Specialists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6" name="Google Shape;253;p4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43408" y="1064013"/>
            <a:ext cx="5154699" cy="37038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597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60905"/>
          </a:xfrm>
        </p:spPr>
        <p:txBody>
          <a:bodyPr/>
          <a:lstStyle/>
          <a:p>
            <a:r>
              <a:rPr lang="tr-TR" sz="3000" dirty="0" err="1"/>
              <a:t>Day</a:t>
            </a:r>
            <a:r>
              <a:rPr lang="tr-TR" sz="3000" dirty="0"/>
              <a:t> 2: </a:t>
            </a:r>
            <a:r>
              <a:rPr lang="tr-TR" sz="3000" dirty="0" err="1" smtClean="0"/>
              <a:t>Scenario</a:t>
            </a:r>
            <a:r>
              <a:rPr lang="tr-TR" sz="3000" dirty="0" smtClean="0"/>
              <a:t> </a:t>
            </a:r>
            <a:r>
              <a:rPr lang="tr-TR" sz="3000" dirty="0"/>
              <a:t>1 - </a:t>
            </a:r>
            <a:r>
              <a:rPr lang="tr-TR" sz="3000" dirty="0" err="1"/>
              <a:t>Azure</a:t>
            </a:r>
            <a:r>
              <a:rPr lang="tr-TR" sz="3000" dirty="0" smtClean="0"/>
              <a:t> </a:t>
            </a:r>
            <a:r>
              <a:rPr lang="tr-TR" sz="3000" dirty="0" err="1"/>
              <a:t>Red</a:t>
            </a:r>
            <a:r>
              <a:rPr lang="tr-TR" sz="3000" dirty="0"/>
              <a:t> Hat </a:t>
            </a:r>
            <a:r>
              <a:rPr lang="tr-TR" sz="3000" dirty="0" err="1"/>
              <a:t>OpenShift</a:t>
            </a:r>
            <a:r>
              <a:rPr lang="tr-TR" sz="3000" dirty="0"/>
              <a:t> Workshop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80660"/>
            <a:ext cx="11522075" cy="4875211"/>
          </a:xfrm>
        </p:spPr>
        <p:txBody>
          <a:bodyPr/>
          <a:lstStyle/>
          <a:p>
            <a:pPr lvl="1"/>
            <a:r>
              <a:rPr lang="tr-TR" sz="800" dirty="0" err="1" smtClean="0"/>
              <a:t>Prerequisites</a:t>
            </a:r>
            <a:endParaRPr lang="tr-TR" sz="800" dirty="0"/>
          </a:p>
          <a:p>
            <a:pPr lvl="1"/>
            <a:r>
              <a:rPr lang="tr-TR" sz="800" dirty="0"/>
              <a:t>Basic </a:t>
            </a:r>
            <a:r>
              <a:rPr lang="tr-TR" sz="800" dirty="0" err="1"/>
              <a:t>concepts</a:t>
            </a:r>
            <a:endParaRPr lang="tr-TR" sz="800" dirty="0"/>
          </a:p>
          <a:p>
            <a:pPr lvl="0"/>
            <a:r>
              <a:rPr lang="tr-TR" sz="1000" dirty="0" err="1"/>
              <a:t>Lab</a:t>
            </a:r>
            <a:r>
              <a:rPr lang="tr-TR" sz="1000" dirty="0"/>
              <a:t> 1 - </a:t>
            </a:r>
            <a:r>
              <a:rPr lang="tr-TR" sz="1000" dirty="0" err="1"/>
              <a:t>Go</a:t>
            </a:r>
            <a:r>
              <a:rPr lang="tr-TR" sz="1000" dirty="0"/>
              <a:t> </a:t>
            </a:r>
            <a:r>
              <a:rPr lang="tr-TR" sz="1000" dirty="0" err="1"/>
              <a:t>Microservices</a:t>
            </a:r>
            <a:endParaRPr lang="tr-TR" sz="1000" dirty="0"/>
          </a:p>
          <a:p>
            <a:pPr lvl="1"/>
            <a:r>
              <a:rPr lang="tr-TR" sz="800" dirty="0"/>
              <a:t>Application </a:t>
            </a:r>
            <a:r>
              <a:rPr lang="tr-TR" sz="800" dirty="0" err="1"/>
              <a:t>Overview</a:t>
            </a:r>
            <a:endParaRPr lang="tr-TR" sz="800" dirty="0"/>
          </a:p>
          <a:p>
            <a:pPr lvl="1"/>
            <a:r>
              <a:rPr lang="tr-TR" sz="800" dirty="0" err="1"/>
              <a:t>Create</a:t>
            </a:r>
            <a:r>
              <a:rPr lang="tr-TR" sz="800" dirty="0"/>
              <a:t> </a:t>
            </a:r>
            <a:r>
              <a:rPr lang="tr-TR" sz="800" dirty="0" err="1"/>
              <a:t>cluster</a:t>
            </a:r>
            <a:endParaRPr lang="tr-TR" sz="800" dirty="0"/>
          </a:p>
          <a:p>
            <a:pPr lvl="1"/>
            <a:r>
              <a:rPr lang="tr-TR" sz="800" dirty="0" err="1"/>
              <a:t>Create</a:t>
            </a:r>
            <a:r>
              <a:rPr lang="tr-TR" sz="800" dirty="0"/>
              <a:t> Project</a:t>
            </a:r>
          </a:p>
          <a:p>
            <a:pPr lvl="1"/>
            <a:r>
              <a:rPr lang="tr-TR" sz="800" dirty="0" err="1"/>
              <a:t>Deploy</a:t>
            </a:r>
            <a:r>
              <a:rPr lang="tr-TR" sz="800" dirty="0"/>
              <a:t> </a:t>
            </a:r>
            <a:r>
              <a:rPr lang="tr-TR" sz="800" dirty="0" err="1"/>
              <a:t>MongoDB</a:t>
            </a:r>
            <a:endParaRPr lang="tr-TR" sz="800" dirty="0"/>
          </a:p>
          <a:p>
            <a:pPr lvl="1"/>
            <a:r>
              <a:rPr lang="tr-TR" sz="800" dirty="0" err="1"/>
              <a:t>Deploy</a:t>
            </a:r>
            <a:r>
              <a:rPr lang="tr-TR" sz="800" dirty="0"/>
              <a:t> </a:t>
            </a:r>
            <a:r>
              <a:rPr lang="tr-TR" sz="800" dirty="0" err="1"/>
              <a:t>Ratings</a:t>
            </a:r>
            <a:r>
              <a:rPr lang="tr-TR" sz="800" dirty="0"/>
              <a:t> API</a:t>
            </a:r>
          </a:p>
          <a:p>
            <a:pPr lvl="1"/>
            <a:r>
              <a:rPr lang="tr-TR" sz="800" dirty="0" err="1"/>
              <a:t>Deploy</a:t>
            </a:r>
            <a:r>
              <a:rPr lang="tr-TR" sz="800" dirty="0"/>
              <a:t> </a:t>
            </a:r>
            <a:r>
              <a:rPr lang="tr-TR" sz="800" dirty="0" err="1"/>
              <a:t>Ratings</a:t>
            </a:r>
            <a:r>
              <a:rPr lang="tr-TR" sz="800" dirty="0"/>
              <a:t> </a:t>
            </a:r>
            <a:r>
              <a:rPr lang="tr-TR" sz="800" dirty="0" err="1"/>
              <a:t>frontend</a:t>
            </a:r>
            <a:endParaRPr lang="tr-TR" sz="800" dirty="0"/>
          </a:p>
          <a:p>
            <a:pPr lvl="1"/>
            <a:r>
              <a:rPr lang="tr-TR" sz="800" dirty="0" err="1"/>
              <a:t>Create</a:t>
            </a:r>
            <a:r>
              <a:rPr lang="tr-TR" sz="800" dirty="0"/>
              <a:t> Network </a:t>
            </a:r>
            <a:r>
              <a:rPr lang="tr-TR" sz="800" dirty="0" err="1"/>
              <a:t>Policy</a:t>
            </a:r>
            <a:endParaRPr lang="tr-TR" sz="800" dirty="0"/>
          </a:p>
          <a:p>
            <a:pPr lvl="1"/>
            <a:r>
              <a:rPr lang="tr-TR" sz="800" dirty="0" err="1"/>
              <a:t>Scaling</a:t>
            </a:r>
            <a:r>
              <a:rPr lang="tr-TR" sz="800" dirty="0"/>
              <a:t> ARO </a:t>
            </a:r>
            <a:r>
              <a:rPr lang="tr-TR" sz="800" dirty="0" smtClean="0"/>
              <a:t>Cluster</a:t>
            </a:r>
          </a:p>
          <a:p>
            <a:pPr lvl="0"/>
            <a:r>
              <a:rPr lang="tr-TR" sz="1000" dirty="0" err="1"/>
              <a:t>Lab</a:t>
            </a:r>
            <a:r>
              <a:rPr lang="tr-TR" sz="1000" dirty="0"/>
              <a:t> 2 - ARO </a:t>
            </a:r>
            <a:r>
              <a:rPr lang="tr-TR" sz="1000" dirty="0" err="1"/>
              <a:t>Internals</a:t>
            </a:r>
            <a:endParaRPr lang="tr-TR" sz="1000" dirty="0"/>
          </a:p>
          <a:p>
            <a:pPr lvl="1"/>
            <a:r>
              <a:rPr lang="tr-TR" sz="800" dirty="0"/>
              <a:t>Application </a:t>
            </a:r>
            <a:r>
              <a:rPr lang="tr-TR" sz="800" dirty="0" err="1"/>
              <a:t>Overview</a:t>
            </a:r>
            <a:endParaRPr lang="tr-TR" sz="800" dirty="0"/>
          </a:p>
          <a:p>
            <a:pPr lvl="1"/>
            <a:r>
              <a:rPr lang="tr-TR" sz="800" dirty="0"/>
              <a:t>Application Deployment</a:t>
            </a:r>
          </a:p>
          <a:p>
            <a:pPr lvl="1"/>
            <a:r>
              <a:rPr lang="tr-TR" sz="800" dirty="0" err="1"/>
              <a:t>Logging</a:t>
            </a:r>
            <a:endParaRPr lang="tr-TR" sz="800" dirty="0"/>
          </a:p>
          <a:p>
            <a:pPr lvl="1"/>
            <a:r>
              <a:rPr lang="tr-TR" sz="800" dirty="0" err="1"/>
              <a:t>Exploring</a:t>
            </a:r>
            <a:r>
              <a:rPr lang="tr-TR" sz="800" dirty="0"/>
              <a:t> </a:t>
            </a:r>
            <a:r>
              <a:rPr lang="tr-TR" sz="800" dirty="0" err="1"/>
              <a:t>Health</a:t>
            </a:r>
            <a:r>
              <a:rPr lang="tr-TR" sz="800" dirty="0"/>
              <a:t> </a:t>
            </a:r>
            <a:r>
              <a:rPr lang="tr-TR" sz="800" dirty="0" err="1"/>
              <a:t>Checks</a:t>
            </a:r>
            <a:endParaRPr lang="tr-TR" sz="800" dirty="0"/>
          </a:p>
          <a:p>
            <a:pPr lvl="1"/>
            <a:r>
              <a:rPr lang="tr-TR" sz="800" dirty="0" err="1"/>
              <a:t>Persistent</a:t>
            </a:r>
            <a:r>
              <a:rPr lang="tr-TR" sz="800" dirty="0"/>
              <a:t> Storage</a:t>
            </a:r>
          </a:p>
          <a:p>
            <a:pPr lvl="1"/>
            <a:r>
              <a:rPr lang="tr-TR" sz="800" dirty="0"/>
              <a:t>Configuration</a:t>
            </a:r>
          </a:p>
          <a:p>
            <a:pPr lvl="1"/>
            <a:r>
              <a:rPr lang="tr-TR" sz="800" dirty="0"/>
              <a:t>Networking </a:t>
            </a:r>
            <a:r>
              <a:rPr lang="tr-TR" sz="800" dirty="0" err="1"/>
              <a:t>and</a:t>
            </a:r>
            <a:r>
              <a:rPr lang="tr-TR" sz="800" dirty="0"/>
              <a:t> </a:t>
            </a:r>
            <a:r>
              <a:rPr lang="tr-TR" sz="800" dirty="0" err="1" smtClean="0"/>
              <a:t>Scaling</a:t>
            </a:r>
            <a:endParaRPr lang="tr-TR" sz="8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err="1"/>
              <a:t>Infrastructure</a:t>
            </a:r>
            <a:r>
              <a:rPr lang="tr-TR" dirty="0"/>
              <a:t> </a:t>
            </a:r>
            <a:r>
              <a:rPr lang="tr-TR" dirty="0" err="1" smtClean="0"/>
              <a:t>Specialist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307" y="2825374"/>
            <a:ext cx="8923338" cy="307105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t="10024" r="648"/>
          <a:stretch/>
        </p:blipFill>
        <p:spPr>
          <a:xfrm>
            <a:off x="4828482" y="1037595"/>
            <a:ext cx="4864158" cy="1628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20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18" y="549275"/>
            <a:ext cx="11520320" cy="588605"/>
          </a:xfrm>
        </p:spPr>
        <p:txBody>
          <a:bodyPr/>
          <a:lstStyle/>
          <a:p>
            <a:r>
              <a:rPr lang="tr-TR" sz="3000" dirty="0" err="1"/>
              <a:t>Day</a:t>
            </a:r>
            <a:r>
              <a:rPr lang="tr-TR" sz="3000" dirty="0"/>
              <a:t> 2</a:t>
            </a:r>
            <a:r>
              <a:rPr lang="tr-TR" sz="3000" dirty="0" smtClean="0"/>
              <a:t>: </a:t>
            </a:r>
            <a:r>
              <a:rPr lang="tr-TR" sz="3000" dirty="0" err="1" smtClean="0"/>
              <a:t>Scenario</a:t>
            </a:r>
            <a:r>
              <a:rPr lang="tr-TR" sz="3000" dirty="0" smtClean="0"/>
              <a:t> 2 </a:t>
            </a:r>
            <a:r>
              <a:rPr lang="tr-TR" sz="3000" dirty="0"/>
              <a:t>- </a:t>
            </a:r>
            <a:r>
              <a:rPr lang="tr-TR" dirty="0" err="1"/>
              <a:t>OpenShift</a:t>
            </a:r>
            <a:r>
              <a:rPr lang="tr-TR" dirty="0"/>
              <a:t> </a:t>
            </a:r>
            <a:r>
              <a:rPr lang="tr-TR" dirty="0" err="1" smtClean="0"/>
              <a:t>Evangelists</a:t>
            </a:r>
            <a:r>
              <a:rPr lang="tr-TR" dirty="0" smtClean="0"/>
              <a:t> Workshop</a:t>
            </a:r>
            <a:r>
              <a:rPr lang="tr-TR" sz="3000" dirty="0" smtClean="0"/>
              <a:t>:</a:t>
            </a:r>
            <a:endParaRPr lang="tr-TR" sz="3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80660"/>
            <a:ext cx="11522075" cy="4875211"/>
          </a:xfrm>
        </p:spPr>
        <p:txBody>
          <a:bodyPr/>
          <a:lstStyle/>
          <a:p>
            <a:r>
              <a:rPr lang="tr-TR" sz="1000" dirty="0" smtClean="0"/>
              <a:t>Environment </a:t>
            </a:r>
            <a:r>
              <a:rPr lang="tr-TR" sz="1000" dirty="0" err="1"/>
              <a:t>Overview</a:t>
            </a:r>
            <a:endParaRPr lang="tr-TR" sz="1000" dirty="0"/>
          </a:p>
          <a:p>
            <a:r>
              <a:rPr lang="tr-TR" sz="1000" dirty="0" err="1" smtClean="0"/>
              <a:t>Installing</a:t>
            </a:r>
            <a:r>
              <a:rPr lang="tr-TR" sz="1000" dirty="0" smtClean="0"/>
              <a:t> </a:t>
            </a:r>
            <a:r>
              <a:rPr lang="tr-TR" sz="1000" dirty="0" err="1"/>
              <a:t>the</a:t>
            </a:r>
            <a:r>
              <a:rPr lang="tr-TR" sz="1000" dirty="0"/>
              <a:t> *</a:t>
            </a:r>
            <a:r>
              <a:rPr lang="tr-TR" sz="1000" dirty="0" err="1"/>
              <a:t>oc</a:t>
            </a:r>
            <a:r>
              <a:rPr lang="tr-TR" sz="1000" dirty="0"/>
              <a:t>* </a:t>
            </a:r>
            <a:r>
              <a:rPr lang="tr-TR" sz="1000" dirty="0" err="1"/>
              <a:t>client</a:t>
            </a:r>
            <a:r>
              <a:rPr lang="tr-TR" sz="1000" dirty="0"/>
              <a:t> </a:t>
            </a:r>
            <a:r>
              <a:rPr lang="tr-TR" sz="1000" dirty="0" err="1"/>
              <a:t>tool</a:t>
            </a:r>
            <a:endParaRPr lang="tr-TR" sz="1000" dirty="0"/>
          </a:p>
          <a:p>
            <a:r>
              <a:rPr lang="tr-TR" sz="1000" dirty="0" err="1" smtClean="0"/>
              <a:t>Exploring</a:t>
            </a:r>
            <a:r>
              <a:rPr lang="tr-TR" sz="1000" dirty="0" smtClean="0"/>
              <a:t> </a:t>
            </a:r>
            <a:r>
              <a:rPr lang="tr-TR" sz="1000" dirty="0" err="1"/>
              <a:t>the</a:t>
            </a:r>
            <a:r>
              <a:rPr lang="tr-TR" sz="1000" dirty="0"/>
              <a:t> CLI </a:t>
            </a:r>
            <a:r>
              <a:rPr lang="tr-TR" sz="1000" dirty="0" err="1"/>
              <a:t>and</a:t>
            </a:r>
            <a:r>
              <a:rPr lang="tr-TR" sz="1000" dirty="0"/>
              <a:t> Web Console</a:t>
            </a:r>
          </a:p>
          <a:p>
            <a:r>
              <a:rPr lang="tr-TR" sz="1000" dirty="0" smtClean="0"/>
              <a:t>Architecture </a:t>
            </a:r>
            <a:r>
              <a:rPr lang="tr-TR" sz="1000" dirty="0" err="1" smtClean="0"/>
              <a:t>Overview</a:t>
            </a:r>
            <a:endParaRPr lang="tr-TR" sz="1000" dirty="0"/>
          </a:p>
          <a:p>
            <a:r>
              <a:rPr lang="tr-TR" sz="1000" dirty="0" err="1" smtClean="0"/>
              <a:t>Deploying</a:t>
            </a:r>
            <a:r>
              <a:rPr lang="tr-TR" sz="1000" dirty="0" smtClean="0"/>
              <a:t> </a:t>
            </a:r>
            <a:r>
              <a:rPr lang="tr-TR" sz="1000" dirty="0" err="1"/>
              <a:t>Your</a:t>
            </a:r>
            <a:r>
              <a:rPr lang="tr-TR" sz="1000" dirty="0"/>
              <a:t> First </a:t>
            </a:r>
            <a:r>
              <a:rPr lang="tr-TR" sz="1000" dirty="0" err="1"/>
              <a:t>Container</a:t>
            </a:r>
            <a:r>
              <a:rPr lang="tr-TR" sz="1000" dirty="0"/>
              <a:t> Image</a:t>
            </a:r>
          </a:p>
          <a:p>
            <a:r>
              <a:rPr lang="tr-TR" sz="1000" dirty="0" err="1" smtClean="0"/>
              <a:t>Scaling</a:t>
            </a:r>
            <a:r>
              <a:rPr lang="tr-TR" sz="1000" dirty="0" smtClean="0"/>
              <a:t> </a:t>
            </a:r>
            <a:r>
              <a:rPr lang="tr-TR" sz="1000" dirty="0" err="1"/>
              <a:t>and</a:t>
            </a:r>
            <a:r>
              <a:rPr lang="tr-TR" sz="1000" dirty="0"/>
              <a:t> Self </a:t>
            </a:r>
            <a:r>
              <a:rPr lang="tr-TR" sz="1000" dirty="0" err="1"/>
              <a:t>Healing</a:t>
            </a:r>
            <a:endParaRPr lang="tr-TR" sz="1000" dirty="0"/>
          </a:p>
          <a:p>
            <a:r>
              <a:rPr lang="tr-TR" sz="1000" dirty="0" err="1" smtClean="0"/>
              <a:t>Exposing</a:t>
            </a:r>
            <a:r>
              <a:rPr lang="tr-TR" sz="1000" dirty="0" smtClean="0"/>
              <a:t> </a:t>
            </a:r>
            <a:r>
              <a:rPr lang="tr-TR" sz="1000" dirty="0" err="1"/>
              <a:t>Your</a:t>
            </a:r>
            <a:r>
              <a:rPr lang="tr-TR" sz="1000" dirty="0"/>
              <a:t> Application </a:t>
            </a:r>
            <a:r>
              <a:rPr lang="tr-TR" sz="1000" dirty="0" err="1"/>
              <a:t>to</a:t>
            </a:r>
            <a:r>
              <a:rPr lang="tr-TR" sz="1000" dirty="0"/>
              <a:t> </a:t>
            </a:r>
            <a:r>
              <a:rPr lang="tr-TR" sz="1000" dirty="0" err="1"/>
              <a:t>the</a:t>
            </a:r>
            <a:r>
              <a:rPr lang="tr-TR" sz="1000" dirty="0"/>
              <a:t> </a:t>
            </a:r>
            <a:r>
              <a:rPr lang="tr-TR" sz="1000" dirty="0" err="1" smtClean="0"/>
              <a:t>Outside</a:t>
            </a:r>
            <a:endParaRPr lang="tr-TR" sz="1000" dirty="0" smtClean="0"/>
          </a:p>
          <a:p>
            <a:r>
              <a:rPr lang="tr-TR" sz="1000" dirty="0" err="1" smtClean="0"/>
              <a:t>Exploring</a:t>
            </a:r>
            <a:r>
              <a:rPr lang="tr-TR" sz="1000" dirty="0" smtClean="0"/>
              <a:t> </a:t>
            </a:r>
            <a:r>
              <a:rPr lang="tr-TR" sz="1000" dirty="0" err="1"/>
              <a:t>OpenShift's</a:t>
            </a:r>
            <a:r>
              <a:rPr lang="tr-TR" sz="1000" dirty="0"/>
              <a:t> </a:t>
            </a:r>
            <a:r>
              <a:rPr lang="tr-TR" sz="1000" dirty="0" err="1"/>
              <a:t>Logging</a:t>
            </a:r>
            <a:r>
              <a:rPr lang="tr-TR" sz="1000" dirty="0"/>
              <a:t> </a:t>
            </a:r>
            <a:r>
              <a:rPr lang="tr-TR" sz="1000" dirty="0" err="1"/>
              <a:t>Capabilities</a:t>
            </a:r>
            <a:endParaRPr lang="tr-TR" sz="1000" dirty="0"/>
          </a:p>
          <a:p>
            <a:r>
              <a:rPr lang="tr-TR" sz="1000" dirty="0" smtClean="0"/>
              <a:t>Role-</a:t>
            </a:r>
            <a:r>
              <a:rPr lang="tr-TR" sz="1000" dirty="0" err="1" smtClean="0"/>
              <a:t>Based</a:t>
            </a:r>
            <a:r>
              <a:rPr lang="tr-TR" sz="1000" dirty="0" smtClean="0"/>
              <a:t> </a:t>
            </a:r>
            <a:r>
              <a:rPr lang="tr-TR" sz="1000" dirty="0"/>
              <a:t>Access Control</a:t>
            </a:r>
          </a:p>
          <a:p>
            <a:r>
              <a:rPr lang="tr-TR" sz="1000" dirty="0" smtClean="0"/>
              <a:t>Remote </a:t>
            </a:r>
            <a:r>
              <a:rPr lang="tr-TR" sz="1000" dirty="0"/>
              <a:t>Access </a:t>
            </a:r>
            <a:r>
              <a:rPr lang="tr-TR" sz="1000" dirty="0" err="1"/>
              <a:t>to</a:t>
            </a:r>
            <a:r>
              <a:rPr lang="tr-TR" sz="1000" dirty="0"/>
              <a:t> </a:t>
            </a:r>
            <a:r>
              <a:rPr lang="tr-TR" sz="1000" dirty="0" err="1"/>
              <a:t>Your</a:t>
            </a:r>
            <a:r>
              <a:rPr lang="tr-TR" sz="1000" dirty="0"/>
              <a:t> Application</a:t>
            </a:r>
          </a:p>
          <a:p>
            <a:r>
              <a:rPr lang="tr-TR" sz="1000" dirty="0" err="1" smtClean="0"/>
              <a:t>Deploying</a:t>
            </a:r>
            <a:r>
              <a:rPr lang="tr-TR" sz="1000" dirty="0" smtClean="0"/>
              <a:t> </a:t>
            </a:r>
            <a:r>
              <a:rPr lang="tr-TR" sz="1000" dirty="0"/>
              <a:t>Java </a:t>
            </a:r>
            <a:r>
              <a:rPr lang="tr-TR" sz="1000" dirty="0" err="1"/>
              <a:t>Code</a:t>
            </a:r>
            <a:endParaRPr lang="tr-TR" sz="1000" dirty="0"/>
          </a:p>
          <a:p>
            <a:r>
              <a:rPr lang="tr-TR" sz="1000" dirty="0" err="1" smtClean="0"/>
              <a:t>Adding</a:t>
            </a:r>
            <a:r>
              <a:rPr lang="tr-TR" sz="1000" dirty="0" smtClean="0"/>
              <a:t> </a:t>
            </a:r>
            <a:r>
              <a:rPr lang="tr-TR" sz="1000" dirty="0"/>
              <a:t>a Database (</a:t>
            </a:r>
            <a:r>
              <a:rPr lang="tr-TR" sz="1000" dirty="0" err="1"/>
              <a:t>MongoDB</a:t>
            </a:r>
            <a:r>
              <a:rPr lang="tr-TR" sz="1000" dirty="0"/>
              <a:t>)</a:t>
            </a:r>
          </a:p>
          <a:p>
            <a:r>
              <a:rPr lang="tr-TR" sz="1000" dirty="0" smtClean="0"/>
              <a:t>Application </a:t>
            </a:r>
            <a:r>
              <a:rPr lang="tr-TR" sz="1000" dirty="0" err="1" smtClean="0"/>
              <a:t>Health</a:t>
            </a:r>
            <a:r>
              <a:rPr lang="tr-TR" sz="1000" dirty="0" smtClean="0"/>
              <a:t> </a:t>
            </a:r>
            <a:r>
              <a:rPr lang="tr-TR" sz="1000" dirty="0" err="1" smtClean="0"/>
              <a:t>and</a:t>
            </a:r>
            <a:r>
              <a:rPr lang="tr-TR" sz="1000" dirty="0" smtClean="0"/>
              <a:t> </a:t>
            </a:r>
            <a:r>
              <a:rPr lang="tr-TR" sz="1000" dirty="0" err="1" smtClean="0"/>
              <a:t>Monitoring</a:t>
            </a:r>
            <a:endParaRPr lang="tr-TR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330072"/>
          </a:xfrm>
        </p:spPr>
        <p:txBody>
          <a:bodyPr/>
          <a:lstStyle/>
          <a:p>
            <a:r>
              <a:rPr lang="tr-TR" dirty="0" err="1"/>
              <a:t>For</a:t>
            </a:r>
            <a:r>
              <a:rPr lang="tr-TR" dirty="0"/>
              <a:t> </a:t>
            </a:r>
            <a:r>
              <a:rPr lang="tr-TR" dirty="0" err="1"/>
              <a:t>Infrastructure</a:t>
            </a:r>
            <a:r>
              <a:rPr lang="tr-TR" dirty="0"/>
              <a:t> </a:t>
            </a:r>
            <a:r>
              <a:rPr lang="tr-TR" dirty="0" err="1" smtClean="0"/>
              <a:t>Specialist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r="815" b="1581"/>
          <a:stretch/>
        </p:blipFill>
        <p:spPr>
          <a:xfrm>
            <a:off x="3763530" y="1446088"/>
            <a:ext cx="8093508" cy="3076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07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085E-070D-41D4-B7B1-CBD08D8A2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/>
              <a:t>Day</a:t>
            </a:r>
            <a:r>
              <a:rPr lang="tr-TR" dirty="0"/>
              <a:t> 1 – </a:t>
            </a:r>
            <a:r>
              <a:rPr lang="tr-TR" dirty="0" err="1"/>
              <a:t>Theorical</a:t>
            </a:r>
            <a:r>
              <a:rPr lang="tr-TR" dirty="0"/>
              <a:t>	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3ED05A-4E4F-4530-A2E9-BDAE526A9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963" y="1128604"/>
            <a:ext cx="11522075" cy="4875211"/>
          </a:xfrm>
        </p:spPr>
        <p:txBody>
          <a:bodyPr/>
          <a:lstStyle/>
          <a:p>
            <a:pPr lvl="0"/>
            <a:r>
              <a:rPr lang="tr-TR" sz="1000" dirty="0"/>
              <a:t>Linux </a:t>
            </a:r>
            <a:r>
              <a:rPr lang="tr-TR" sz="1000" dirty="0" err="1"/>
              <a:t>Containers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</a:t>
            </a:r>
            <a:r>
              <a:rPr lang="tr-TR" sz="1000" dirty="0" err="1"/>
              <a:t>Concepts</a:t>
            </a:r>
            <a:r>
              <a:rPr lang="tr-TR" sz="1000" dirty="0"/>
              <a:t> </a:t>
            </a:r>
            <a:r>
              <a:rPr lang="tr-TR" sz="1000" dirty="0" err="1"/>
              <a:t>Overview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Architecture</a:t>
            </a:r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Installation Architecture</a:t>
            </a:r>
          </a:p>
          <a:p>
            <a:pPr lvl="0"/>
            <a:r>
              <a:rPr lang="tr-TR" sz="1000" dirty="0"/>
              <a:t>Technical </a:t>
            </a:r>
            <a:r>
              <a:rPr lang="tr-TR" sz="1000" dirty="0" err="1"/>
              <a:t>Deep</a:t>
            </a:r>
            <a:r>
              <a:rPr lang="tr-TR" sz="1000" dirty="0"/>
              <a:t> </a:t>
            </a:r>
            <a:r>
              <a:rPr lang="tr-TR" sz="1000" dirty="0" err="1"/>
              <a:t>Dive</a:t>
            </a:r>
            <a:endParaRPr lang="tr-TR" sz="1000" dirty="0"/>
          </a:p>
          <a:p>
            <a:pPr lvl="1"/>
            <a:r>
              <a:rPr lang="tr-TR" sz="1000" dirty="0" err="1"/>
              <a:t>Monitoring</a:t>
            </a:r>
            <a:r>
              <a:rPr lang="tr-TR" sz="1000" dirty="0"/>
              <a:t> Application </a:t>
            </a:r>
            <a:r>
              <a:rPr lang="tr-TR" sz="1000" dirty="0" err="1"/>
              <a:t>Health</a:t>
            </a:r>
            <a:endParaRPr lang="tr-TR" sz="1000" dirty="0"/>
          </a:p>
          <a:p>
            <a:pPr lvl="1"/>
            <a:r>
              <a:rPr lang="tr-TR" sz="1000" dirty="0"/>
              <a:t>Networking</a:t>
            </a:r>
          </a:p>
          <a:p>
            <a:pPr lvl="1"/>
            <a:r>
              <a:rPr lang="tr-TR" sz="1000" dirty="0" err="1"/>
              <a:t>Logging</a:t>
            </a:r>
            <a:r>
              <a:rPr lang="tr-TR" sz="1000" dirty="0"/>
              <a:t> &amp; </a:t>
            </a:r>
            <a:r>
              <a:rPr lang="tr-TR" sz="1000" dirty="0" err="1"/>
              <a:t>Metrics</a:t>
            </a:r>
            <a:endParaRPr lang="tr-TR" sz="1000" dirty="0"/>
          </a:p>
          <a:p>
            <a:pPr lvl="1"/>
            <a:r>
              <a:rPr lang="tr-TR" sz="1000" dirty="0"/>
              <a:t>Security</a:t>
            </a:r>
          </a:p>
          <a:p>
            <a:pPr lvl="1"/>
            <a:r>
              <a:rPr lang="tr-TR" sz="1000" dirty="0" err="1"/>
              <a:t>Persistent</a:t>
            </a:r>
            <a:r>
              <a:rPr lang="tr-TR" sz="1000" dirty="0"/>
              <a:t> Storage</a:t>
            </a:r>
          </a:p>
          <a:p>
            <a:pPr lvl="1"/>
            <a:r>
              <a:rPr lang="tr-TR" sz="1000" dirty="0" err="1" smtClean="0"/>
              <a:t>Operator</a:t>
            </a:r>
            <a:r>
              <a:rPr lang="tr-TR" sz="1000" dirty="0" smtClean="0"/>
              <a:t> </a:t>
            </a:r>
            <a:r>
              <a:rPr lang="tr-TR" sz="1000" dirty="0"/>
              <a:t>Framework</a:t>
            </a:r>
          </a:p>
          <a:p>
            <a:pPr lvl="1"/>
            <a:r>
              <a:rPr lang="tr-TR" sz="1000" dirty="0"/>
              <a:t>Reference </a:t>
            </a:r>
            <a:r>
              <a:rPr lang="tr-TR" sz="1000" dirty="0" err="1" smtClean="0"/>
              <a:t>Architectures</a:t>
            </a:r>
            <a:r>
              <a:rPr lang="tr-TR" sz="1000" dirty="0"/>
              <a:t> </a:t>
            </a:r>
          </a:p>
          <a:p>
            <a:pPr lvl="1"/>
            <a:r>
              <a:rPr lang="tr-TR" sz="1000" dirty="0" err="1"/>
              <a:t>Build</a:t>
            </a:r>
            <a:r>
              <a:rPr lang="tr-TR" sz="1000" dirty="0"/>
              <a:t> &amp; </a:t>
            </a:r>
            <a:r>
              <a:rPr lang="tr-TR" sz="1000" dirty="0" err="1"/>
              <a:t>Deploy</a:t>
            </a:r>
            <a:r>
              <a:rPr lang="tr-TR" sz="1000" dirty="0"/>
              <a:t> </a:t>
            </a:r>
            <a:r>
              <a:rPr lang="tr-TR" sz="1000" dirty="0" err="1"/>
              <a:t>Container</a:t>
            </a:r>
            <a:r>
              <a:rPr lang="tr-TR" sz="1000" dirty="0"/>
              <a:t> </a:t>
            </a:r>
            <a:r>
              <a:rPr lang="tr-TR" sz="1000" dirty="0" err="1" smtClean="0"/>
              <a:t>Images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 err="1"/>
              <a:t>Continuous</a:t>
            </a:r>
            <a:r>
              <a:rPr lang="tr-TR" sz="1000" dirty="0"/>
              <a:t> Integration (CI) &amp; </a:t>
            </a:r>
            <a:r>
              <a:rPr lang="tr-TR" sz="1000" dirty="0" err="1"/>
              <a:t>Continuous</a:t>
            </a:r>
            <a:r>
              <a:rPr lang="tr-TR" sz="1000" dirty="0"/>
              <a:t> Delivery (CD</a:t>
            </a:r>
            <a:r>
              <a:rPr lang="tr-TR" sz="1000" dirty="0" smtClean="0"/>
              <a:t>) *</a:t>
            </a:r>
            <a:endParaRPr lang="tr-TR" sz="1000" dirty="0"/>
          </a:p>
          <a:p>
            <a:pPr lvl="1"/>
            <a:r>
              <a:rPr lang="tr-TR" sz="1000" dirty="0"/>
              <a:t>Developer </a:t>
            </a:r>
            <a:r>
              <a:rPr lang="tr-TR" sz="1000" dirty="0" err="1" smtClean="0"/>
              <a:t>Workflow</a:t>
            </a:r>
            <a:r>
              <a:rPr lang="tr-TR" sz="1000" dirty="0" smtClean="0"/>
              <a:t> *</a:t>
            </a:r>
            <a:endParaRPr lang="tr-TR" sz="1000" dirty="0"/>
          </a:p>
          <a:p>
            <a:pPr lvl="1"/>
            <a:r>
              <a:rPr lang="tr-TR" sz="1000" dirty="0"/>
              <a:t>Application </a:t>
            </a:r>
            <a:r>
              <a:rPr lang="tr-TR" sz="1000" dirty="0" smtClean="0"/>
              <a:t>Services *</a:t>
            </a:r>
            <a:endParaRPr lang="tr-TR" sz="1000" dirty="0"/>
          </a:p>
          <a:p>
            <a:pPr lvl="0"/>
            <a:r>
              <a:rPr lang="tr-TR" sz="1000" dirty="0" err="1"/>
              <a:t>OpenShift</a:t>
            </a:r>
            <a:r>
              <a:rPr lang="tr-TR" sz="1000" dirty="0"/>
              <a:t> </a:t>
            </a:r>
            <a:r>
              <a:rPr lang="tr-TR" sz="1000" dirty="0" smtClean="0"/>
              <a:t>4</a:t>
            </a:r>
          </a:p>
          <a:p>
            <a:pPr marL="0" lvl="0" indent="0">
              <a:buNone/>
            </a:pPr>
            <a:r>
              <a:rPr lang="tr-TR" sz="1000" dirty="0" smtClean="0"/>
              <a:t>* : </a:t>
            </a:r>
            <a:r>
              <a:rPr lang="tr-TR" sz="1000" dirty="0" err="1" smtClean="0"/>
              <a:t>especially</a:t>
            </a:r>
            <a:r>
              <a:rPr lang="tr-TR" sz="1000" dirty="0" smtClean="0"/>
              <a:t> </a:t>
            </a:r>
            <a:r>
              <a:rPr lang="tr-TR" sz="1000" dirty="0" err="1"/>
              <a:t>to</a:t>
            </a:r>
            <a:r>
              <a:rPr lang="tr-TR" sz="1000" dirty="0"/>
              <a:t> be </a:t>
            </a:r>
            <a:r>
              <a:rPr lang="tr-TR" sz="1000" dirty="0" err="1"/>
              <a:t>explained</a:t>
            </a:r>
            <a:endParaRPr lang="tr-TR" sz="1000" dirty="0"/>
          </a:p>
          <a:p>
            <a:pPr marL="0" indent="0">
              <a:buNone/>
            </a:pP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B4A3E8-2124-46B0-8BA9-30005143A38F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36712" y="188913"/>
            <a:ext cx="11520326" cy="514738"/>
          </a:xfrm>
        </p:spPr>
        <p:txBody>
          <a:bodyPr/>
          <a:lstStyle/>
          <a:p>
            <a:r>
              <a:rPr lang="tr-TR" dirty="0" err="1" smtClean="0"/>
              <a:t>For</a:t>
            </a:r>
            <a:r>
              <a:rPr lang="tr-TR" dirty="0" smtClean="0"/>
              <a:t> Developers</a:t>
            </a:r>
            <a:endParaRPr lang="en-US" dirty="0"/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DF000-EF67-45C3-8B9A-4A3D0DEE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E43634-C457-4940-9CED-9F60E7486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8" name="Google Shape;6435;p210"/>
          <p:cNvGrpSpPr/>
          <p:nvPr/>
        </p:nvGrpSpPr>
        <p:grpSpPr>
          <a:xfrm>
            <a:off x="6187915" y="4392695"/>
            <a:ext cx="4229100" cy="595500"/>
            <a:chOff x="3532900" y="3785375"/>
            <a:chExt cx="4229100" cy="595500"/>
          </a:xfrm>
        </p:grpSpPr>
        <p:sp>
          <p:nvSpPr>
            <p:cNvPr id="9" name="Google Shape;6436;p210"/>
            <p:cNvSpPr/>
            <p:nvPr/>
          </p:nvSpPr>
          <p:spPr>
            <a:xfrm>
              <a:off x="3532900" y="3785375"/>
              <a:ext cx="4229100" cy="595500"/>
            </a:xfrm>
            <a:prstGeom prst="rect">
              <a:avLst/>
            </a:prstGeom>
            <a:solidFill>
              <a:srgbClr val="00415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endParaRPr>
            </a:p>
          </p:txBody>
        </p:sp>
        <p:pic>
          <p:nvPicPr>
            <p:cNvPr id="10" name="Google Shape;6437;p210"/>
            <p:cNvPicPr preferRelativeResize="0"/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725661" y="3827975"/>
              <a:ext cx="1985100" cy="5103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Google Shape;6438;p210"/>
          <p:cNvSpPr/>
          <p:nvPr/>
        </p:nvSpPr>
        <p:spPr>
          <a:xfrm>
            <a:off x="7262965" y="1717220"/>
            <a:ext cx="1004100" cy="831000"/>
          </a:xfrm>
          <a:prstGeom prst="rect">
            <a:avLst/>
          </a:prstGeom>
          <a:solidFill>
            <a:srgbClr val="6FA8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Data Virtualization</a:t>
            </a:r>
            <a:endParaRPr sz="10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2" name="Google Shape;6439;p210"/>
          <p:cNvSpPr/>
          <p:nvPr/>
        </p:nvSpPr>
        <p:spPr>
          <a:xfrm>
            <a:off x="9413075" y="3500859"/>
            <a:ext cx="1004100" cy="831000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Real Time Decisi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3" name="Google Shape;6440;p210"/>
          <p:cNvSpPr/>
          <p:nvPr/>
        </p:nvSpPr>
        <p:spPr>
          <a:xfrm>
            <a:off x="8338012" y="1717209"/>
            <a:ext cx="1004100" cy="831000"/>
          </a:xfrm>
          <a:prstGeom prst="rect">
            <a:avLst/>
          </a:prstGeom>
          <a:solidFill>
            <a:srgbClr val="007A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Intelligent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Process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4" name="Google Shape;6441;p210"/>
          <p:cNvSpPr/>
          <p:nvPr/>
        </p:nvSpPr>
        <p:spPr>
          <a:xfrm>
            <a:off x="6187925" y="3500881"/>
            <a:ext cx="1004100" cy="831000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 dirty="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Integration</a:t>
            </a:r>
            <a:endParaRPr sz="1100" dirty="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5" name="Google Shape;6442;p210"/>
          <p:cNvSpPr/>
          <p:nvPr/>
        </p:nvSpPr>
        <p:spPr>
          <a:xfrm>
            <a:off x="7262970" y="3500870"/>
            <a:ext cx="1004100" cy="831000"/>
          </a:xfrm>
          <a:prstGeom prst="rect">
            <a:avLst/>
          </a:prstGeom>
          <a:solidFill>
            <a:srgbClr val="007A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essaging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7" name="Google Shape;6443;p210"/>
          <p:cNvSpPr/>
          <p:nvPr/>
        </p:nvSpPr>
        <p:spPr>
          <a:xfrm>
            <a:off x="8338021" y="3500865"/>
            <a:ext cx="1004100" cy="831000"/>
          </a:xfrm>
          <a:prstGeom prst="rect">
            <a:avLst/>
          </a:prstGeom>
          <a:solidFill>
            <a:srgbClr val="00B9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Data Grid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8" name="Google Shape;6444;p210"/>
          <p:cNvSpPr/>
          <p:nvPr/>
        </p:nvSpPr>
        <p:spPr>
          <a:xfrm>
            <a:off x="8338025" y="2609048"/>
            <a:ext cx="1004100" cy="831000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Java EE Applicati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19" name="Google Shape;6445;p210"/>
          <p:cNvSpPr/>
          <p:nvPr/>
        </p:nvSpPr>
        <p:spPr>
          <a:xfrm>
            <a:off x="6187921" y="1717211"/>
            <a:ext cx="1004100" cy="831000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Web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Applicati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0" name="Google Shape;6446;p210"/>
          <p:cNvSpPr/>
          <p:nvPr/>
        </p:nvSpPr>
        <p:spPr>
          <a:xfrm>
            <a:off x="7262965" y="2609037"/>
            <a:ext cx="1004100" cy="831000"/>
          </a:xfrm>
          <a:prstGeom prst="rect">
            <a:avLst/>
          </a:prstGeom>
          <a:solidFill>
            <a:srgbClr val="00B9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Single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Sign-On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1" name="Google Shape;6447;p210"/>
          <p:cNvSpPr/>
          <p:nvPr/>
        </p:nvSpPr>
        <p:spPr>
          <a:xfrm>
            <a:off x="9413064" y="2609045"/>
            <a:ext cx="1004100" cy="831000"/>
          </a:xfrm>
          <a:prstGeom prst="rect">
            <a:avLst/>
          </a:prstGeom>
          <a:solidFill>
            <a:srgbClr val="6FA8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obile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2" name="Google Shape;6448;p210"/>
          <p:cNvSpPr/>
          <p:nvPr/>
        </p:nvSpPr>
        <p:spPr>
          <a:xfrm>
            <a:off x="6187915" y="2609045"/>
            <a:ext cx="1004100" cy="831000"/>
          </a:xfrm>
          <a:prstGeom prst="rect">
            <a:avLst/>
          </a:prstGeom>
          <a:solidFill>
            <a:srgbClr val="007A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API</a:t>
            </a:r>
            <a:endParaRPr sz="10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anagement</a:t>
            </a:r>
            <a:endParaRPr sz="10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  <p:sp>
        <p:nvSpPr>
          <p:cNvPr id="23" name="Google Shape;6449;p210"/>
          <p:cNvSpPr/>
          <p:nvPr/>
        </p:nvSpPr>
        <p:spPr>
          <a:xfrm>
            <a:off x="9413062" y="1717209"/>
            <a:ext cx="1004100" cy="831000"/>
          </a:xfrm>
          <a:prstGeom prst="rect">
            <a:avLst/>
          </a:prstGeom>
          <a:solidFill>
            <a:srgbClr val="76A5A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100">
                <a:solidFill>
                  <a:srgbClr val="FFFFFF"/>
                </a:solidFill>
                <a:latin typeface="Overpass"/>
                <a:ea typeface="Overpass"/>
                <a:cs typeface="Overpass"/>
                <a:sym typeface="Overpass"/>
              </a:rPr>
              <a:t>Micro services</a:t>
            </a:r>
            <a:endParaRPr sz="1100">
              <a:solidFill>
                <a:srgbClr val="FFFFFF"/>
              </a:solidFill>
              <a:latin typeface="Overpass"/>
              <a:ea typeface="Overpass"/>
              <a:cs typeface="Overpass"/>
              <a:sym typeface="Overpass"/>
            </a:endParaRPr>
          </a:p>
        </p:txBody>
      </p:sp>
    </p:spTree>
    <p:extLst>
      <p:ext uri="{BB962C8B-B14F-4D97-AF65-F5344CB8AC3E}">
        <p14:creationId xmlns:p14="http://schemas.microsoft.com/office/powerpoint/2010/main" val="375309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O Design 2017">
  <a:themeElements>
    <a:clrScheme name="lets try">
      <a:dk1>
        <a:srgbClr val="3C3C3C"/>
      </a:dk1>
      <a:lt1>
        <a:srgbClr val="FFFFFF"/>
      </a:lt1>
      <a:dk2>
        <a:srgbClr val="3C3C3C"/>
      </a:dk2>
      <a:lt2>
        <a:srgbClr val="FFFFFF"/>
      </a:lt2>
      <a:accent1>
        <a:srgbClr val="D21034"/>
      </a:accent1>
      <a:accent2>
        <a:srgbClr val="B4B4B4"/>
      </a:accent2>
      <a:accent3>
        <a:srgbClr val="006496"/>
      </a:accent3>
      <a:accent4>
        <a:srgbClr val="4A9462"/>
      </a:accent4>
      <a:accent5>
        <a:srgbClr val="8F4899"/>
      </a:accent5>
      <a:accent6>
        <a:srgbClr val="F3BD48"/>
      </a:accent6>
      <a:hlink>
        <a:srgbClr val="D21034"/>
      </a:hlink>
      <a:folHlink>
        <a:srgbClr val="D21034"/>
      </a:folHlink>
    </a:clrScheme>
    <a:fontScheme name="Lets Try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pc="-5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_PRES_SWO" id="{3F8578E1-A7B8-4CE6-B03D-3F9DC39ABF85}" vid="{6CD24A71-9DE2-4628-8C75-27459652BB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3C3AB8E18F14AA75FCFFC3DD8137B" ma:contentTypeVersion="9" ma:contentTypeDescription="Create a new document." ma:contentTypeScope="" ma:versionID="e1355eaa38c9a7a2724e8d8f25915553">
  <xsd:schema xmlns:xsd="http://www.w3.org/2001/XMLSchema" xmlns:xs="http://www.w3.org/2001/XMLSchema" xmlns:p="http://schemas.microsoft.com/office/2006/metadata/properties" xmlns:ns2="c68eeec1-fd7d-4b5b-b080-ad012c1ba04c" xmlns:ns3="86f6de27-9fb0-4822-b4f1-890bc8d459f3" targetNamespace="http://schemas.microsoft.com/office/2006/metadata/properties" ma:root="true" ma:fieldsID="e02c93612737afc32c36e5f44d9dac0d" ns2:_="" ns3:_="">
    <xsd:import namespace="c68eeec1-fd7d-4b5b-b080-ad012c1ba04c"/>
    <xsd:import namespace="86f6de27-9fb0-4822-b4f1-890bc8d459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8eeec1-fd7d-4b5b-b080-ad012c1ba0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f6de27-9fb0-4822-b4f1-890bc8d459f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74F54A4-0147-4BC4-AF4E-C14AC00FB3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96363B3-4CD3-4E82-836F-BC9B012A2F1E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86f6de27-9fb0-4822-b4f1-890bc8d459f3"/>
    <ds:schemaRef ds:uri="http://schemas.microsoft.com/office/2006/documentManagement/types"/>
    <ds:schemaRef ds:uri="http://purl.org/dc/elements/1.1/"/>
    <ds:schemaRef ds:uri="http://schemas.microsoft.com/office/2006/metadata/properties"/>
    <ds:schemaRef ds:uri="c68eeec1-fd7d-4b5b-b080-ad012c1ba04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B71F6BB-5B7A-40EF-BDBA-12BABC3F90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8eeec1-fd7d-4b5b-b080-ad012c1ba04c"/>
    <ds:schemaRef ds:uri="86f6de27-9fb0-4822-b4f1-890bc8d459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64</Words>
  <Application>Microsoft Office PowerPoint</Application>
  <PresentationFormat>Widescreen</PresentationFormat>
  <Paragraphs>242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rial</vt:lpstr>
      <vt:lpstr>Avenir LT Std 45 Book</vt:lpstr>
      <vt:lpstr>Avenir LT Std 55 Roman</vt:lpstr>
      <vt:lpstr>Calibri</vt:lpstr>
      <vt:lpstr>Montserrat</vt:lpstr>
      <vt:lpstr>Montserrat Semi</vt:lpstr>
      <vt:lpstr>Overpass</vt:lpstr>
      <vt:lpstr>Segoe UI</vt:lpstr>
      <vt:lpstr>Segoe UI Semibold</vt:lpstr>
      <vt:lpstr>Segoe UI Semilight</vt:lpstr>
      <vt:lpstr>SWO Design 2017</vt:lpstr>
      <vt:lpstr>think-cell Slide</vt:lpstr>
      <vt:lpstr>SoftwareONE</vt:lpstr>
      <vt:lpstr>SoftwareONE</vt:lpstr>
      <vt:lpstr>PowerPoint Presentation</vt:lpstr>
      <vt:lpstr>OCP 4 Workshop Agenda</vt:lpstr>
      <vt:lpstr>Team Members</vt:lpstr>
      <vt:lpstr>Day 1 – Theorical </vt:lpstr>
      <vt:lpstr>Day 2: Scenario 1 - Azure Red Hat OpenShift Workshop:</vt:lpstr>
      <vt:lpstr>Day 2: Scenario 2 - OpenShift Evangelists Workshop:</vt:lpstr>
      <vt:lpstr>Day 1 – Theorical </vt:lpstr>
      <vt:lpstr>Day 2: OpenShift Evangelists Workshop</vt:lpstr>
      <vt:lpstr>Optional - Day 2: Red Hat Service Mesh</vt:lpstr>
      <vt:lpstr>Verify your permissions  </vt:lpstr>
      <vt:lpstr>Install and Register The «az aro» extension   </vt:lpstr>
      <vt:lpstr>Get a Red Hat pull secret   </vt:lpstr>
      <vt:lpstr>Create a virtual network containing two empty subnets</vt:lpstr>
      <vt:lpstr>Create a virtual network containing two empty subnets</vt:lpstr>
      <vt:lpstr>Create the Cluster</vt:lpstr>
      <vt:lpstr>Connect to the cluster</vt:lpstr>
      <vt:lpstr>Install the OpenShift CLI</vt:lpstr>
      <vt:lpstr>Connect using the OpenShift CLI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24T14:10:47Z</dcterms:created>
  <dcterms:modified xsi:type="dcterms:W3CDTF">2020-07-07T06:0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93C3AB8E18F14AA75FCFFC3DD8137B</vt:lpwstr>
  </property>
  <property fmtid="{D5CDD505-2E9C-101B-9397-08002B2CF9AE}" pid="3" name="_dlc_DocIdItemGuid">
    <vt:lpwstr>b12310bd-5ef8-4c00-a96d-a069f6be74a5</vt:lpwstr>
  </property>
  <property fmtid="{D5CDD505-2E9C-101B-9397-08002B2CF9AE}" pid="4" name="AuthorIds_UIVersion_512">
    <vt:lpwstr>11</vt:lpwstr>
  </property>
  <property fmtid="{D5CDD505-2E9C-101B-9397-08002B2CF9AE}" pid="5" name="AuthorIds_UIVersion_3072">
    <vt:lpwstr>11</vt:lpwstr>
  </property>
  <property fmtid="{D5CDD505-2E9C-101B-9397-08002B2CF9AE}" pid="6" name="AuthorIds_UIVersion_4608">
    <vt:lpwstr>11</vt:lpwstr>
  </property>
</Properties>
</file>